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2" r:id="rId5"/>
    <p:sldMasterId id="2147483705" r:id="rId6"/>
    <p:sldMasterId id="2147483730" r:id="rId7"/>
    <p:sldMasterId id="2147483749" r:id="rId8"/>
  </p:sldMasterIdLst>
  <p:notesMasterIdLst>
    <p:notesMasterId r:id="rId41"/>
  </p:notesMasterIdLst>
  <p:sldIdLst>
    <p:sldId id="286" r:id="rId9"/>
    <p:sldId id="292" r:id="rId10"/>
    <p:sldId id="293" r:id="rId11"/>
    <p:sldId id="294" r:id="rId12"/>
    <p:sldId id="295" r:id="rId13"/>
    <p:sldId id="324" r:id="rId14"/>
    <p:sldId id="325" r:id="rId15"/>
    <p:sldId id="326" r:id="rId16"/>
    <p:sldId id="296" r:id="rId17"/>
    <p:sldId id="278" r:id="rId18"/>
    <p:sldId id="303" r:id="rId19"/>
    <p:sldId id="304" r:id="rId20"/>
    <p:sldId id="311" r:id="rId21"/>
    <p:sldId id="308" r:id="rId22"/>
    <p:sldId id="309" r:id="rId23"/>
    <p:sldId id="313" r:id="rId24"/>
    <p:sldId id="314" r:id="rId25"/>
    <p:sldId id="317" r:id="rId26"/>
    <p:sldId id="318" r:id="rId27"/>
    <p:sldId id="305" r:id="rId28"/>
    <p:sldId id="321" r:id="rId29"/>
    <p:sldId id="320" r:id="rId30"/>
    <p:sldId id="306" r:id="rId31"/>
    <p:sldId id="322" r:id="rId32"/>
    <p:sldId id="323" r:id="rId33"/>
    <p:sldId id="276" r:id="rId34"/>
    <p:sldId id="298" r:id="rId35"/>
    <p:sldId id="299" r:id="rId36"/>
    <p:sldId id="297" r:id="rId37"/>
    <p:sldId id="327" r:id="rId38"/>
    <p:sldId id="329" r:id="rId39"/>
    <p:sldId id="328"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4BBB"/>
    <a:srgbClr val="00BCF2"/>
    <a:srgbClr val="FFB900"/>
    <a:srgbClr val="C86E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6" d="100"/>
          <a:sy n="96" d="100"/>
        </p:scale>
        <p:origin x="36"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CA4-4C89-9D54-EADC986E376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CA4-4C89-9D54-EADC986E376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CA4-4C89-9D54-EADC986E376D}"/>
              </c:ext>
            </c:extLst>
          </c:dPt>
          <c:cat>
            <c:strRef>
              <c:f>Sheet2!$A$1:$C$1</c:f>
              <c:strCache>
                <c:ptCount val="3"/>
                <c:pt idx="0">
                  <c:v>I would prefer running the latest version of SQL Server</c:v>
                </c:pt>
                <c:pt idx="1">
                  <c:v>I must run my application using the same version of SQL as on-premises or in SQL VMs</c:v>
                </c:pt>
                <c:pt idx="2">
                  <c:v>Indifferent</c:v>
                </c:pt>
              </c:strCache>
            </c:strRef>
          </c:cat>
          <c:val>
            <c:numRef>
              <c:f>Sheet2!$A$2:$C$2</c:f>
              <c:numCache>
                <c:formatCode>General</c:formatCode>
                <c:ptCount val="3"/>
                <c:pt idx="0">
                  <c:v>114</c:v>
                </c:pt>
                <c:pt idx="1">
                  <c:v>13</c:v>
                </c:pt>
                <c:pt idx="2">
                  <c:v>14</c:v>
                </c:pt>
              </c:numCache>
            </c:numRef>
          </c:val>
          <c:extLst>
            <c:ext xmlns:c16="http://schemas.microsoft.com/office/drawing/2014/chart" uri="{C3380CC4-5D6E-409C-BE32-E72D297353CC}">
              <c16:uniqueId val="{00000006-3CA4-4C89-9D54-EADC986E376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600" baseline="0"/>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image" Target="../media/image26.emf"/><Relationship Id="rId4"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image" Target="../media/image33.emf"/><Relationship Id="rId7" Type="http://schemas.openxmlformats.org/officeDocument/2006/relationships/image" Target="../media/image37.emf"/><Relationship Id="rId2" Type="http://schemas.openxmlformats.org/officeDocument/2006/relationships/image" Target="../media/image32.emf"/><Relationship Id="rId1" Type="http://schemas.openxmlformats.org/officeDocument/2006/relationships/image" Target="../media/image31.emf"/><Relationship Id="rId6" Type="http://schemas.openxmlformats.org/officeDocument/2006/relationships/image" Target="../media/image36.emf"/><Relationship Id="rId5" Type="http://schemas.openxmlformats.org/officeDocument/2006/relationships/image" Target="../media/image35.emf"/><Relationship Id="rId10" Type="http://schemas.openxmlformats.org/officeDocument/2006/relationships/image" Target="../media/image40.emf"/><Relationship Id="rId4" Type="http://schemas.openxmlformats.org/officeDocument/2006/relationships/image" Target="../media/image34.emf"/><Relationship Id="rId9" Type="http://schemas.openxmlformats.org/officeDocument/2006/relationships/image" Target="../media/image3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DEAE8FA-D7B2-4534-825C-89895736491D}" type="datetimeFigureOut">
              <a:rPr lang="en-US" smtClean="0"/>
              <a:t>6/4/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194323-46EB-47FD-802B-1151F9FD2B5B}" type="slidenum">
              <a:rPr lang="en-US" smtClean="0"/>
              <a:t>‹#›</a:t>
            </a:fld>
            <a:endParaRPr lang="en-US"/>
          </a:p>
        </p:txBody>
      </p:sp>
    </p:spTree>
    <p:extLst>
      <p:ext uri="{BB962C8B-B14F-4D97-AF65-F5344CB8AC3E}">
        <p14:creationId xmlns:p14="http://schemas.microsoft.com/office/powerpoint/2010/main" val="20237174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6/4/2018 21:56</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1450005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5A2D088-BDBD-41A5-ADCE-5C6A4DC08057}" type="datetime8">
              <a:rPr lang="en-US" smtClean="0"/>
              <a:t>6/4/2018 21:5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36875741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US" sz="5400" dirty="0">
                <a:solidFill>
                  <a:schemeClr val="bg2">
                    <a:lumMod val="50000"/>
                  </a:schemeClr>
                </a:solidFill>
              </a:rPr>
              <a:t>Are you interested in moving to cloud?</a:t>
            </a:r>
          </a:p>
          <a:p>
            <a:pPr marL="800100" lvl="1" indent="-571500">
              <a:lnSpc>
                <a:spcPct val="150000"/>
              </a:lnSpc>
              <a:buFont typeface="Arial" panose="020B0604020202020204" pitchFamily="34" charset="0"/>
              <a:buChar char="•"/>
            </a:pPr>
            <a:r>
              <a:rPr lang="en-US" sz="3600" dirty="0">
                <a:solidFill>
                  <a:schemeClr val="bg2">
                    <a:lumMod val="50000"/>
                  </a:schemeClr>
                </a:solidFill>
              </a:rPr>
              <a:t>Want to close your data center</a:t>
            </a:r>
          </a:p>
          <a:p>
            <a:pPr marL="800100" lvl="1" indent="-571500">
              <a:lnSpc>
                <a:spcPct val="150000"/>
              </a:lnSpc>
              <a:buFont typeface="Arial" panose="020B0604020202020204" pitchFamily="34" charset="0"/>
              <a:buChar char="•"/>
            </a:pPr>
            <a:r>
              <a:rPr lang="en-US" sz="3600" dirty="0">
                <a:solidFill>
                  <a:schemeClr val="bg2">
                    <a:lumMod val="50000"/>
                  </a:schemeClr>
                </a:solidFill>
              </a:rPr>
              <a:t>Current hosting solution is high maintenance</a:t>
            </a:r>
          </a:p>
          <a:p>
            <a:pPr marL="800100" lvl="1" indent="-571500">
              <a:lnSpc>
                <a:spcPct val="150000"/>
              </a:lnSpc>
              <a:buFont typeface="Arial" panose="020B0604020202020204" pitchFamily="34" charset="0"/>
              <a:buChar char="•"/>
            </a:pPr>
            <a:r>
              <a:rPr lang="en-US" sz="3600" dirty="0">
                <a:solidFill>
                  <a:schemeClr val="bg2">
                    <a:lumMod val="50000"/>
                  </a:schemeClr>
                </a:solidFill>
              </a:rPr>
              <a:t>You’re asked to do more with less</a:t>
            </a:r>
          </a:p>
          <a:p>
            <a:pPr marL="800100" lvl="1" indent="-571500">
              <a:lnSpc>
                <a:spcPct val="150000"/>
              </a:lnSpc>
              <a:buFont typeface="Arial" panose="020B0604020202020204" pitchFamily="34" charset="0"/>
              <a:buChar char="•"/>
            </a:pPr>
            <a:r>
              <a:rPr lang="en-US" sz="3600" dirty="0">
                <a:solidFill>
                  <a:schemeClr val="bg2">
                    <a:lumMod val="50000"/>
                  </a:schemeClr>
                </a:solidFill>
              </a:rPr>
              <a:t>Want to expand your reach globally</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 21: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580441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3633F40-32CD-4F84-9443-25A95AEAAEE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 21: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854071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018 21: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97389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 21: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40375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 21: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91544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 21: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198291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018 21: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1223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 21: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485520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 21: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000471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Microsoft is the consistent Data Platform for </a:t>
            </a:r>
            <a:r>
              <a:rPr lang="en-US" sz="1200" b="1" kern="1200" dirty="0">
                <a:solidFill>
                  <a:schemeClr val="tx1"/>
                </a:solidFill>
                <a:effectLst/>
                <a:latin typeface="+mn-lt"/>
                <a:ea typeface="+mn-ea"/>
                <a:cs typeface="+mn-cs"/>
              </a:rPr>
              <a:t>Powerful Hybrid Scenarios</a:t>
            </a:r>
            <a:r>
              <a:rPr lang="en-US" sz="1200" kern="1200" dirty="0">
                <a:solidFill>
                  <a:schemeClr val="tx1"/>
                </a:solidFill>
                <a:effectLst/>
                <a:latin typeface="+mn-lt"/>
                <a:ea typeface="+mn-ea"/>
                <a:cs typeface="+mn-cs"/>
              </a:rPr>
              <a:t> such as… &lt;click&g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19707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 21: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61046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 21: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431481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6/4/2018 21:5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6206340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 21: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14012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aaS model for these services has many advantages:</a:t>
            </a:r>
            <a:r>
              <a:rPr lang="en-US" baseline="0" dirty="0"/>
              <a:t> provisioning on demand, scale-up and down, start/pause, etc.  Also, it opens up opportunities with connecting to other Azure services easily, and enriching your data integration, BI or reporting workflows… opens up the way to modernization.</a:t>
            </a:r>
          </a:p>
          <a:p>
            <a:endParaRPr lang="en-US" baseline="0" dirty="0"/>
          </a:p>
          <a:p>
            <a:r>
              <a:rPr lang="en-US" baseline="0" dirty="0"/>
              <a:t>VMs are the fallback option… and for SSRS this is currently the only option. There is a licensing aspect here as well, as to run SSIS / SSAS or SSRS in a VM, you need a SQL Server license. In PaaS services, you pay exactly what you’re using, so you should have more cost control this way.</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 21: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305632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 21: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99906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4FAA446-E61B-4D43-A3B1-7749AA6DC131}" type="datetime8">
              <a:rPr lang="en-US" smtClean="0"/>
              <a:t>6/4/2018 21:5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41556980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EBEA68-9965-426E-9DF9-270648E9231C}"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77710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QL Data Sync allows developers to easily synchronize reference data across multiple SQL Server, SQL VM, and Azure SQL databases.  Increasing number of developers and ISVs are developing and running their geo-distributed SaaS and hybrid applications on Azure and utilizing Azure SQL Database as the data-tier.  For on-</a:t>
            </a:r>
            <a:r>
              <a:rPr lang="en-US" dirty="0" err="1"/>
              <a:t>prem</a:t>
            </a:r>
            <a:r>
              <a:rPr lang="en-US" dirty="0"/>
              <a:t> SQL Servers with intermittent connectivity to the cloud or for Azure applications that desire low latency, a copy of the reference data needs to be co-located with the application for optimal lookup and update speeds.</a:t>
            </a:r>
          </a:p>
          <a:p>
            <a:r>
              <a:rPr lang="en-US" dirty="0"/>
              <a:t>With the ability to sync one-way or bi-directionally, SQL Data Sync enables developers to set up scheduled synchronization without having to write any custom code or managing their own cloud infrastructure.  Besides going through Microsoft Azure Portal, users can also use </a:t>
            </a:r>
            <a:r>
              <a:rPr lang="en-US" dirty="0" err="1"/>
              <a:t>Powershell</a:t>
            </a:r>
            <a:r>
              <a:rPr lang="en-US" dirty="0"/>
              <a:t> and REST APIs to get diagnostic logs and alerting.</a:t>
            </a:r>
          </a:p>
          <a:p>
            <a:endParaRPr lang="en-US" dirty="0"/>
          </a:p>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1EBD79-A731-4506-95CF-27EE603149B8}"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685839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32237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ll these scenarios are made possible because of our</a:t>
            </a:r>
            <a:r>
              <a:rPr lang="en-US" sz="1200" b="1" kern="1200" dirty="0">
                <a:solidFill>
                  <a:schemeClr val="tx1"/>
                </a:solidFill>
                <a:effectLst/>
                <a:latin typeface="+mn-lt"/>
                <a:ea typeface="+mn-ea"/>
                <a:cs typeface="+mn-cs"/>
              </a:rPr>
              <a:t> Consistent Data Platform across on-premises and cloud</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nly Microsoft can deliver customers a consistent experience from on-premises to cloud – that’s our goal.</a:t>
            </a:r>
          </a:p>
          <a:p>
            <a:r>
              <a:rPr lang="en-US" sz="1200" kern="1200" dirty="0">
                <a:solidFill>
                  <a:schemeClr val="tx1"/>
                </a:solidFill>
                <a:effectLst/>
                <a:latin typeface="+mn-lt"/>
                <a:ea typeface="+mn-ea"/>
                <a:cs typeface="+mn-cs"/>
              </a:rPr>
              <a:t>We want ensure we deliver a great experience from on-premises to cloud.  The point is you decide what is best for a particular application or workloads and you will be able to deliver it without having to rewrite your application, or learn new development tools or new development language or new management tools. </a:t>
            </a:r>
          </a:p>
          <a:p>
            <a:r>
              <a:rPr lang="en-US" sz="1200" kern="1200" dirty="0">
                <a:solidFill>
                  <a:schemeClr val="tx1"/>
                </a:solidFill>
                <a:effectLst/>
                <a:latin typeface="+mn-lt"/>
                <a:ea typeface="+mn-ea"/>
                <a:cs typeface="+mn-cs"/>
              </a:rPr>
              <a:t>Only Microsoft can offer this consistent experience across identity, virtualization, management, and dev-ops. We’ve got all the tools that you love and we can ensure that we deliver a great experience no matter where you choose to deploy.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88191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4FAA446-E61B-4D43-A3B1-7749AA6DC131}" type="datetime8">
              <a:rPr lang="en-US" smtClean="0"/>
              <a:t>6/4/2018 21:5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36204541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4FAA446-E61B-4D43-A3B1-7749AA6DC131}" type="datetime8">
              <a:rPr lang="en-US" smtClean="0"/>
              <a:t>6/4/2018 21:5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31860707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4FAA446-E61B-4D43-A3B1-7749AA6DC131}" type="datetime8">
              <a:rPr lang="en-US" smtClean="0"/>
              <a:t>6/4/2018 21:5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791761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SQL Database has </a:t>
            </a:r>
            <a:r>
              <a:rPr lang="en-US" b="1" dirty="0"/>
              <a:t>built-in intelligence </a:t>
            </a:r>
            <a:r>
              <a:rPr lang="en-US" dirty="0"/>
              <a:t>that helps you dramatically reduce the costs of running and managing databases and maximizes both the performance and security of your application.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ach database is isolated from each other and portable, each with its own service tier with a guaranteed performance level. SQL Database provides different performance levels for different needs, and enables databases to be pooled to maximize the use of resources and save money. You can adjust performance without downtime to your app or to your customers. </a:t>
            </a:r>
            <a:r>
              <a:rPr lang="en-US" b="1" dirty="0"/>
              <a:t>Dynamic scalability</a:t>
            </a:r>
            <a:r>
              <a:rPr lang="en-US" dirty="0"/>
              <a:t> enables your database to transparently respond to rapidly changing resource requirements and enables you to only pay for the resources that you need when you need them. </a:t>
            </a:r>
            <a:r>
              <a:rPr lang="en-US" b="1" dirty="0"/>
              <a:t>In-memory technologies </a:t>
            </a:r>
            <a:r>
              <a:rPr lang="en-US" dirty="0"/>
              <a:t>provide r</a:t>
            </a:r>
            <a:r>
              <a:rPr lang="en-US" dirty="0">
                <a:solidFill>
                  <a:srgbClr val="128A04"/>
                </a:solidFill>
                <a:latin typeface="+mn-lt"/>
              </a:rPr>
              <a:t>eal-time business insight </a:t>
            </a:r>
            <a:br>
              <a:rPr lang="en-US" dirty="0">
                <a:solidFill>
                  <a:srgbClr val="128A04"/>
                </a:solidFill>
                <a:latin typeface="+mn-lt"/>
              </a:rPr>
            </a:br>
            <a:r>
              <a:rPr lang="en-US" dirty="0">
                <a:solidFill>
                  <a:srgbClr val="128A04"/>
                </a:solidFill>
                <a:latin typeface="+mn-lt"/>
              </a:rPr>
              <a:t>based on operational data.</a:t>
            </a:r>
          </a:p>
          <a:p>
            <a:endParaRPr lang="en-US" dirty="0"/>
          </a:p>
          <a:p>
            <a:pPr rtl="0"/>
            <a:r>
              <a:rPr lang="en-US" dirty="0"/>
              <a:t>New to SQL Database is the ability to seamlessly lift and shift your SQL Server data to the cloud to a managed instance with a full SQL Server programming surface area that removes the need to re-architect your apps.</a:t>
            </a:r>
          </a:p>
          <a:p>
            <a:pPr rtl="0"/>
            <a:endParaRPr lang="en-US" dirty="0"/>
          </a:p>
          <a:p>
            <a:pPr rtl="0"/>
            <a:r>
              <a:rPr lang="en-US" dirty="0"/>
              <a:t>SQL Database combines the </a:t>
            </a:r>
            <a:r>
              <a:rPr lang="en-US" b="1" dirty="0"/>
              <a:t>operational and financial benefits of Azure PaaS </a:t>
            </a:r>
            <a:r>
              <a:rPr lang="en-US" dirty="0"/>
              <a:t>with the financially-backed SLA and business continuity tools to protect the lifeblood of your business, your data.  SQL Database now offers a Azure Hybrid Benefit for SQL Server that maximizes the investments you’ve made in on-premises licensing by providing discounted rates in the cloud.</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7557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4854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1DEBF-9E4E-47A3-B6FE-3463A6D59A30}"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94728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 21: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694896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772F88A-0207-4E10-A25B-3ED5D15D758B}"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92851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57489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8295039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5097000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0189618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247842529"/>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65074289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420063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858267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19190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18007488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3463396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143231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3478112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alf phot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2F6E38-3824-48BC-A9EC-2254A8A734FE}"/>
              </a:ext>
            </a:extLst>
          </p:cNvPr>
          <p:cNvSpPr/>
          <p:nvPr userDrawn="1"/>
        </p:nvSpPr>
        <p:spPr bwMode="auto">
          <a:xfrm>
            <a:off x="0" y="0"/>
            <a:ext cx="6091238" cy="68580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 name="Picture Placeholder 5">
            <a:extLst>
              <a:ext uri="{FF2B5EF4-FFF2-40B4-BE49-F238E27FC236}">
                <a16:creationId xmlns:a16="http://schemas.microsoft.com/office/drawing/2014/main" id="{F21779E6-0990-4309-B89D-4F74AFB21E49}"/>
              </a:ext>
            </a:extLst>
          </p:cNvPr>
          <p:cNvSpPr>
            <a:spLocks noGrp="1"/>
          </p:cNvSpPr>
          <p:nvPr>
            <p:ph type="pic" sz="quarter" idx="10"/>
          </p:nvPr>
        </p:nvSpPr>
        <p:spPr>
          <a:xfrm>
            <a:off x="0" y="0"/>
            <a:ext cx="6091238" cy="735123"/>
          </a:xfrm>
        </p:spPr>
        <p:txBody>
          <a:bodyPr/>
          <a:lstStyle/>
          <a:p>
            <a:endParaRPr lang="en-US"/>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480583" y="2784409"/>
            <a:ext cx="5130074" cy="1289183"/>
          </a:xfrm>
        </p:spPr>
        <p:txBody>
          <a:bodyPr vert="horz" wrap="square" lIns="146304" tIns="91440" rIns="146304" bIns="91440" rtlCol="0" anchor="ctr" anchorCtr="0">
            <a:spAutoFit/>
          </a:bodyPr>
          <a:lstStyle>
            <a:lvl1pPr>
              <a:defRPr lang="en-US" sz="3600" kern="1200" cap="all" spc="300" dirty="0">
                <a:solidFill>
                  <a:schemeClr val="bg1"/>
                </a:solidFill>
                <a:latin typeface="Segoe UI Semilight" charset="0"/>
                <a:ea typeface="Segoe UI Semilight" charset="0"/>
                <a:cs typeface="Segoe UI Semilight" charset="0"/>
              </a:defRPr>
            </a:lvl1pPr>
          </a:lstStyle>
          <a:p>
            <a:pPr marL="0" lvl="0">
              <a:lnSpc>
                <a:spcPct val="100000"/>
              </a:lnSpc>
            </a:pPr>
            <a:r>
              <a:rPr lang="en-US" dirty="0"/>
              <a:t>Click to edit Master title style</a:t>
            </a:r>
          </a:p>
        </p:txBody>
      </p:sp>
    </p:spTree>
    <p:extLst>
      <p:ext uri="{BB962C8B-B14F-4D97-AF65-F5344CB8AC3E}">
        <p14:creationId xmlns:p14="http://schemas.microsoft.com/office/powerpoint/2010/main" val="157927334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dirty="0"/>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080" indent="0">
              <a:buFont typeface="Arial" panose="020B0604020202020204" pitchFamily="34" charset="0"/>
              <a:buNone/>
              <a:defRPr sz="1400">
                <a:solidFill>
                  <a:schemeClr val="bg1"/>
                </a:solidFill>
              </a:defRPr>
            </a:lvl2pPr>
            <a:lvl3pPr marL="560134" indent="0">
              <a:buFont typeface="Arial" panose="020B0604020202020204" pitchFamily="34" charset="0"/>
              <a:buNone/>
              <a:defRPr sz="1200">
                <a:solidFill>
                  <a:schemeClr val="bg1"/>
                </a:solidFill>
              </a:defRPr>
            </a:lvl3pPr>
            <a:lvl4pPr marL="784187" indent="0">
              <a:buFont typeface="Arial" panose="020B0604020202020204" pitchFamily="34" charset="0"/>
              <a:buNone/>
              <a:defRPr sz="1100">
                <a:solidFill>
                  <a:schemeClr val="bg1"/>
                </a:solidFill>
              </a:defRPr>
            </a:lvl4pPr>
            <a:lvl5pPr marL="1008241" indent="0">
              <a:buFont typeface="Arial" panose="020B0604020202020204" pitchFamily="34" charset="0"/>
              <a:buNone/>
              <a:defRPr sz="11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02418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3821"/>
            <a:ext cx="6095999" cy="735123"/>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269242"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283" indent="-285695">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803" indent="-223795">
              <a:lnSpc>
                <a:spcPct val="100000"/>
              </a:lnSpc>
              <a:buClr>
                <a:schemeClr val="tx2"/>
              </a:buClr>
              <a:defRPr sz="1400"/>
            </a:lvl3pPr>
            <a:lvl4pPr marL="914225" indent="-223795">
              <a:lnSpc>
                <a:spcPct val="100000"/>
              </a:lnSpc>
              <a:buClr>
                <a:schemeClr val="tx2"/>
              </a:buClr>
              <a:defRPr sz="1200"/>
            </a:lvl4pPr>
            <a:lvl5pPr>
              <a:lnSpc>
                <a:spcPct val="100000"/>
              </a:lnSpc>
              <a:buClr>
                <a:schemeClr val="tx2"/>
              </a:buCl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269241" y="289512"/>
            <a:ext cx="4950459" cy="899665"/>
          </a:xfrm>
        </p:spPr>
        <p:txBody>
          <a:bodyPr/>
          <a:lstStyle>
            <a:lvl1pPr>
              <a:defRPr sz="2800" spc="500" baseline="0">
                <a:solidFill>
                  <a:schemeClr val="tx2"/>
                </a:solidFill>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290180375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dirty="0"/>
              <a:t>Click to edit Master title style</a:t>
            </a:r>
          </a:p>
        </p:txBody>
      </p:sp>
    </p:spTree>
    <p:extLst>
      <p:ext uri="{BB962C8B-B14F-4D97-AF65-F5344CB8AC3E}">
        <p14:creationId xmlns:p14="http://schemas.microsoft.com/office/powerpoint/2010/main" val="319855079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539388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8240243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75271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563391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140322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0988461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730864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2030071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147616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67472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32061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500" baseline="0">
                <a:solidFill>
                  <a:schemeClr val="tx2"/>
                </a:solidFill>
                <a:latin typeface="+mj-lt"/>
              </a:defRPr>
            </a:lvl1pPr>
          </a:lstStyle>
          <a:p>
            <a:r>
              <a:rPr lang="en-US" dirty="0"/>
              <a:t>Section title</a:t>
            </a:r>
          </a:p>
        </p:txBody>
      </p:sp>
    </p:spTree>
    <p:extLst>
      <p:ext uri="{BB962C8B-B14F-4D97-AF65-F5344CB8AC3E}">
        <p14:creationId xmlns:p14="http://schemas.microsoft.com/office/powerpoint/2010/main" val="228004567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cap="none"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94124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7914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9800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832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924822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6" name="Text Box 3">
            <a:extLst>
              <a:ext uri="{FF2B5EF4-FFF2-40B4-BE49-F238E27FC236}">
                <a16:creationId xmlns:a16="http://schemas.microsoft.com/office/drawing/2014/main" id="{47F4D791-9F50-40E5-9CA8-87A272B297C7}"/>
              </a:ext>
            </a:extLst>
          </p:cNvPr>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7" name="Picture 6">
            <a:extLst>
              <a:ext uri="{FF2B5EF4-FFF2-40B4-BE49-F238E27FC236}">
                <a16:creationId xmlns:a16="http://schemas.microsoft.com/office/drawing/2014/main" id="{8AEF9AA7-BD29-4A18-82C0-68A9D38AF5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417997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43653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57581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6" y="6121376"/>
            <a:ext cx="1254995" cy="269134"/>
          </a:xfrm>
          <a:prstGeom prst="rect">
            <a:avLst/>
          </a:prstGeom>
        </p:spPr>
      </p:pic>
      <p:sp>
        <p:nvSpPr>
          <p:cNvPr id="7"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644715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4819" y="6116754"/>
            <a:ext cx="1248592" cy="268966"/>
          </a:xfrm>
          <a:prstGeom prst="rect">
            <a:avLst/>
          </a:prstGeom>
        </p:spPr>
      </p:pic>
      <p:sp>
        <p:nvSpPr>
          <p:cNvPr id="6"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2116516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13B48C3B-2CDD-41BD-82BC-F143BCAFB7BC}"/>
              </a:ext>
            </a:extLst>
          </p:cNvPr>
          <p:cNvSpPr txBox="1">
            <a:spLocks/>
          </p:cNvSpPr>
          <p:nvPr userDrawn="1"/>
        </p:nvSpPr>
        <p:spPr>
          <a:xfrm>
            <a:off x="0" y="0"/>
            <a:ext cx="5399314" cy="6858000"/>
          </a:xfrm>
          <a:prstGeom prst="rect">
            <a:avLst/>
          </a:prstGeom>
          <a:solidFill>
            <a:srgbClr val="0078D7"/>
          </a:solidFill>
        </p:spPr>
        <p:txBody>
          <a:bodyPr vert="horz" wrap="square" lIns="91414" tIns="45706" rIns="91414" bIns="45706" rtlCol="0" anchor="ctr">
            <a:norm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192">
              <a:lnSpc>
                <a:spcPct val="70000"/>
              </a:lnSpc>
            </a:pPr>
            <a:endParaRPr lang="en-US" sz="3528" b="1" spc="0">
              <a:solidFill>
                <a:srgbClr val="00BCF2"/>
              </a:solidFill>
              <a:latin typeface="Segoe UI Semilight"/>
            </a:endParaRPr>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269241" y="2771578"/>
            <a:ext cx="5130074" cy="1314847"/>
          </a:xfrm>
        </p:spPr>
        <p:txBody>
          <a:bodyPr vert="horz" wrap="square" lIns="146304" tIns="91440" rIns="146304" bIns="91440" rtlCol="0" anchor="ctr" anchorCtr="0">
            <a:spAutoFit/>
          </a:bodyPr>
          <a:lstStyle>
            <a:lvl1pPr>
              <a:defRPr lang="en-US" sz="3600" b="1" spc="0">
                <a:solidFill>
                  <a:schemeClr val="bg2">
                    <a:lumMod val="10000"/>
                  </a:schemeClr>
                </a:solidFill>
                <a:latin typeface="Segoe UI Semibold" charset="0"/>
                <a:ea typeface="Segoe UI Semibold" charset="0"/>
                <a:cs typeface="Segoe UI Semibold" charset="0"/>
              </a:defRPr>
            </a:lvl1pPr>
          </a:lstStyle>
          <a:p>
            <a:pPr marL="0" lvl="0">
              <a:lnSpc>
                <a:spcPct val="100000"/>
              </a:lnSpc>
            </a:pPr>
            <a:r>
              <a:rPr lang="en-US" dirty="0"/>
              <a:t>Click to edit Master title style</a:t>
            </a:r>
          </a:p>
        </p:txBody>
      </p:sp>
      <p:sp>
        <p:nvSpPr>
          <p:cNvPr id="14" name="Text Placeholder 13">
            <a:extLst>
              <a:ext uri="{FF2B5EF4-FFF2-40B4-BE49-F238E27FC236}">
                <a16:creationId xmlns:a16="http://schemas.microsoft.com/office/drawing/2014/main" id="{C201B679-1DA6-45FD-9570-713EF3F4903A}"/>
              </a:ext>
            </a:extLst>
          </p:cNvPr>
          <p:cNvSpPr>
            <a:spLocks noGrp="1"/>
          </p:cNvSpPr>
          <p:nvPr>
            <p:ph type="body" sz="quarter" idx="11"/>
          </p:nvPr>
        </p:nvSpPr>
        <p:spPr>
          <a:xfrm>
            <a:off x="6350000" y="1436125"/>
            <a:ext cx="4700858" cy="1562912"/>
          </a:xfrm>
        </p:spPr>
        <p:txBody>
          <a:bodyPr/>
          <a:lstStyle>
            <a:lvl1pPr>
              <a:defRPr sz="2400"/>
            </a:lvl1pPr>
            <a:lvl2pPr>
              <a:defRPr sz="1800">
                <a:latin typeface="+mj-lt"/>
              </a:defRPr>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960521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4720857" cy="1046440"/>
          </a:xfrm>
        </p:spPr>
        <p:txBody>
          <a:bodyPr vert="horz" wrap="square" lIns="146304" tIns="91440" rIns="146304" bIns="91440" rtlCol="0" anchor="t">
            <a:noAutofit/>
          </a:bodyPr>
          <a:lstStyle>
            <a:lvl1pPr>
              <a:defRPr lang="en-US" sz="3200" b="0" kern="1200" cap="none" spc="0" baseline="0" dirty="0">
                <a:ln w="3175">
                  <a:noFill/>
                </a:ln>
                <a:solidFill>
                  <a:schemeClr val="bg1"/>
                </a:solidFill>
                <a:effectLst/>
                <a:latin typeface="+mj-lt"/>
                <a:ea typeface="Segoe UI Semilight" panose="020B0402040204020203" pitchFamily="34" charset="0"/>
                <a:cs typeface="Segoe UI Semilight" panose="020B0402040204020203" pitchFamily="34" charset="0"/>
              </a:defRPr>
            </a:lvl1pPr>
          </a:lstStyle>
          <a:p>
            <a:pPr marL="0" lvl="0" defTabSz="914225">
              <a:lnSpc>
                <a:spcPct val="100000"/>
              </a:lnSpc>
            </a:pPr>
            <a:r>
              <a:rPr lang="en-US" dirty="0"/>
              <a:t>Click to edit Master title style</a:t>
            </a:r>
          </a:p>
        </p:txBody>
      </p:sp>
      <p:sp>
        <p:nvSpPr>
          <p:cNvPr id="6" name="Text Placeholder 5">
            <a:extLst>
              <a:ext uri="{FF2B5EF4-FFF2-40B4-BE49-F238E27FC236}">
                <a16:creationId xmlns:a16="http://schemas.microsoft.com/office/drawing/2014/main" id="{812886AA-A156-4EC6-A1EA-17C1BB0CF527}"/>
              </a:ext>
            </a:extLst>
          </p:cNvPr>
          <p:cNvSpPr>
            <a:spLocks noGrp="1"/>
          </p:cNvSpPr>
          <p:nvPr>
            <p:ph type="body" sz="quarter" idx="10"/>
          </p:nvPr>
        </p:nvSpPr>
        <p:spPr>
          <a:xfrm>
            <a:off x="269240" y="2314246"/>
            <a:ext cx="4547689" cy="4048455"/>
          </a:xfrm>
        </p:spPr>
        <p:txBody>
          <a:bodyPr>
            <a:normAutofit/>
          </a:bodyPr>
          <a:lstStyle>
            <a:lvl1pPr>
              <a:lnSpc>
                <a:spcPct val="100000"/>
              </a:lnSpc>
              <a:spcBef>
                <a:spcPts val="200"/>
              </a:spcBef>
              <a:spcAft>
                <a:spcPts val="1200"/>
              </a:spcAft>
              <a:defRPr lang="en-US" sz="1400" spc="100" smtClean="0">
                <a:solidFill>
                  <a:schemeClr val="bg1"/>
                </a:solidFill>
                <a:latin typeface="Segoe UI Semilight" charset="0"/>
                <a:cs typeface="Segoe UI Semilight" charset="0"/>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marL="0" lvl="0" indent="0" defTabSz="914225">
              <a:spcBef>
                <a:spcPts val="1000"/>
              </a:spcBef>
              <a:buNone/>
            </a:pPr>
            <a:r>
              <a:rPr lang="en-US" dirty="0"/>
              <a:t>Edit Master text styles</a:t>
            </a:r>
          </a:p>
        </p:txBody>
      </p:sp>
      <p:sp>
        <p:nvSpPr>
          <p:cNvPr id="5" name="Rectangle 4">
            <a:extLst>
              <a:ext uri="{FF2B5EF4-FFF2-40B4-BE49-F238E27FC236}">
                <a16:creationId xmlns:a16="http://schemas.microsoft.com/office/drawing/2014/main" id="{B0A5D826-5171-4035-B015-89BF57989617}"/>
              </a:ext>
            </a:extLst>
          </p:cNvPr>
          <p:cNvSpPr/>
          <p:nvPr userDrawn="1"/>
        </p:nvSpPr>
        <p:spPr>
          <a:xfrm>
            <a:off x="2" y="0"/>
            <a:ext cx="5199573" cy="6858000"/>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lIns="639989" rtlCol="0" anchor="ct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7998" b="0" i="0" u="none" strike="noStrike" kern="0" cap="none" spc="0" normalizeH="0" baseline="0" noProof="0" dirty="0">
              <a:ln>
                <a:noFill/>
              </a:ln>
              <a:solidFill>
                <a:prstClr val="white"/>
              </a:solidFill>
              <a:effectLst/>
              <a:uLnTx/>
              <a:uFillTx/>
            </a:endParaRPr>
          </a:p>
        </p:txBody>
      </p:sp>
    </p:spTree>
    <p:extLst>
      <p:ext uri="{BB962C8B-B14F-4D97-AF65-F5344CB8AC3E}">
        <p14:creationId xmlns:p14="http://schemas.microsoft.com/office/powerpoint/2010/main" val="174963382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Rectangle 2">
            <a:extLst>
              <a:ext uri="{FF2B5EF4-FFF2-40B4-BE49-F238E27FC236}">
                <a16:creationId xmlns:a16="http://schemas.microsoft.com/office/drawing/2014/main" id="{03059F3B-B4B7-417C-B2C7-732527FAB406}"/>
              </a:ext>
            </a:extLst>
          </p:cNvPr>
          <p:cNvSpPr/>
          <p:nvPr userDrawn="1"/>
        </p:nvSpPr>
        <p:spPr bwMode="auto">
          <a:xfrm>
            <a:off x="0" y="0"/>
            <a:ext cx="12192000" cy="111290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13413776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495810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2406985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235729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349394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428774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582873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477557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9673396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0424959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372456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27812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4981785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180860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014638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28089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738760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832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62185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143319209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3667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24465" y="334170"/>
            <a:ext cx="11381306" cy="892552"/>
          </a:xfrm>
        </p:spPr>
        <p:txBody>
          <a:bodyPr/>
          <a:lstStyle/>
          <a:p>
            <a:r>
              <a:rPr lang="en-US"/>
              <a:t>Click to edit Master title style</a:t>
            </a:r>
          </a:p>
        </p:txBody>
      </p:sp>
      <p:sp>
        <p:nvSpPr>
          <p:cNvPr id="6" name="Rectangle 5"/>
          <p:cNvSpPr/>
          <p:nvPr userDrawn="1"/>
        </p:nvSpPr>
        <p:spPr>
          <a:xfrm>
            <a:off x="2" y="1428466"/>
            <a:ext cx="12191999" cy="5429534"/>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lIns="639989" rtlCol="0" anchor="ct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7998" b="0" i="0" u="none" strike="noStrike" kern="0" cap="none" spc="0" normalizeH="0" baseline="0" noProof="0" dirty="0">
              <a:ln>
                <a:noFill/>
              </a:ln>
              <a:solidFill>
                <a:prstClr val="white"/>
              </a:solidFill>
              <a:effectLst/>
              <a:uLnTx/>
              <a:uFillTx/>
            </a:endParaRPr>
          </a:p>
        </p:txBody>
      </p:sp>
      <p:sp>
        <p:nvSpPr>
          <p:cNvPr id="7" name="Rectangle 6"/>
          <p:cNvSpPr/>
          <p:nvPr userDrawn="1"/>
        </p:nvSpPr>
        <p:spPr>
          <a:xfrm>
            <a:off x="7315200" y="1510353"/>
            <a:ext cx="4876800" cy="5345919"/>
          </a:xfrm>
          <a:prstGeom prst="rect">
            <a:avLst/>
          </a:prstGeom>
          <a:solidFill>
            <a:schemeClr val="bg1"/>
          </a:solidFill>
          <a:ln>
            <a:noFill/>
          </a:ln>
          <a:effectLst>
            <a:outerShdw blurRad="203200" dist="38100" dir="10800000" algn="r" rotWithShape="0">
              <a:schemeClr val="bg1">
                <a:lumMod val="75000"/>
                <a:alpha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156979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dirty="0"/>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080" indent="0">
              <a:buFont typeface="Arial" panose="020B0604020202020204" pitchFamily="34" charset="0"/>
              <a:buNone/>
              <a:defRPr sz="1400">
                <a:solidFill>
                  <a:schemeClr val="bg1"/>
                </a:solidFill>
              </a:defRPr>
            </a:lvl2pPr>
            <a:lvl3pPr marL="560134" indent="0">
              <a:buFont typeface="Arial" panose="020B0604020202020204" pitchFamily="34" charset="0"/>
              <a:buNone/>
              <a:defRPr sz="1200">
                <a:solidFill>
                  <a:schemeClr val="bg1"/>
                </a:solidFill>
              </a:defRPr>
            </a:lvl3pPr>
            <a:lvl4pPr marL="784187" indent="0">
              <a:buFont typeface="Arial" panose="020B0604020202020204" pitchFamily="34" charset="0"/>
              <a:buNone/>
              <a:defRPr sz="1100">
                <a:solidFill>
                  <a:schemeClr val="bg1"/>
                </a:solidFill>
              </a:defRPr>
            </a:lvl4pPr>
            <a:lvl5pPr marL="1008241" indent="0">
              <a:buFont typeface="Arial" panose="020B0604020202020204" pitchFamily="34" charset="0"/>
              <a:buNone/>
              <a:defRPr sz="11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985310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77181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1057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017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438826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124234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666389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52813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4024710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824720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000368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86258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953055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493104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2809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903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265084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24251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3542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8729710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26196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419156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2"/>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17040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65204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7214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19962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47186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399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90765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4655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3931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052712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2619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31171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442104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138373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983829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image" Target="../media/image6.png"/><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theme" Target="../theme/theme2.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image" Target="../media/image6.png"/><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theme" Target="../theme/theme3.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image" Target="../media/image1.emf"/><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theme" Target="../theme/theme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6" Type="http://schemas.openxmlformats.org/officeDocument/2006/relationships/theme" Target="../theme/theme5.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753976670"/>
      </p:ext>
    </p:extLst>
  </p:cSld>
  <p:clrMap bg1="dk1" tx1="lt1" bg2="dk2" tx2="lt2" accent1="accent1" accent2="accent2" accent3="accent3" accent4="accent4" accent5="accent5" accent6="accent6" hlink="hlink" folHlink="folHlink"/>
  <p:sldLayoutIdLst>
    <p:sldLayoutId id="2147483663" r:id="rId1"/>
    <p:sldLayoutId id="2147483681"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4"/>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59565917"/>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Lst>
  <p:transition>
    <p:fade/>
  </p:transition>
  <p:txStyles>
    <p:titleStyle>
      <a:lvl1pPr algn="l" defTabSz="914192" rtl="0" eaLnBrk="1" latinLnBrk="0" hangingPunct="1">
        <a:lnSpc>
          <a:spcPct val="90000"/>
        </a:lnSpc>
        <a:spcBef>
          <a:spcPct val="0"/>
        </a:spcBef>
        <a:buNone/>
        <a:defRPr lang="en-US" sz="3600" b="0" kern="1200" cap="all" spc="300" baseline="0" dirty="0">
          <a:ln w="3175">
            <a:noFill/>
          </a:ln>
          <a:solidFill>
            <a:srgbClr val="0078D7"/>
          </a:solidFill>
          <a:effectLst/>
          <a:latin typeface="Segoe UI Semilight" charset="0"/>
          <a:ea typeface="+mn-ea"/>
          <a:cs typeface="Segoe UI Semilight" charset="0"/>
        </a:defRPr>
      </a:lvl1pPr>
    </p:titleStyle>
    <p:bodyStyle>
      <a:lvl1pPr marL="336080" marR="0" indent="-33608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6"/>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985284898"/>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Lst>
  <p:transition>
    <p:fade/>
  </p:transition>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07366441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25" y="-8232"/>
            <a:ext cx="941530" cy="5662634"/>
            <a:chOff x="12614198" y="-8396"/>
            <a:chExt cx="960410" cy="5775362"/>
          </a:xfrm>
        </p:grpSpPr>
        <p:grpSp>
          <p:nvGrpSpPr>
            <p:cNvPr id="37" name="Group 36"/>
            <p:cNvGrpSpPr/>
            <p:nvPr userDrawn="1"/>
          </p:nvGrpSpPr>
          <p:grpSpPr>
            <a:xfrm>
              <a:off x="12614198" y="-8396"/>
              <a:ext cx="960410" cy="5724185"/>
              <a:chOff x="12614198" y="-8396"/>
              <a:chExt cx="960410" cy="5724185"/>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46692" y="4228746"/>
                <a:ext cx="2647253" cy="326834"/>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872490897"/>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notesSlide" Target="../notesSlides/notesSlide11.xml"/><Relationship Id="rId7" Type="http://schemas.openxmlformats.org/officeDocument/2006/relationships/image" Target="../media/image25.png"/><Relationship Id="rId2" Type="http://schemas.openxmlformats.org/officeDocument/2006/relationships/slideLayout" Target="../slideLayouts/slideLayout63.xml"/><Relationship Id="rId1" Type="http://schemas.openxmlformats.org/officeDocument/2006/relationships/vmlDrawing" Target="../drawings/vmlDrawing1.vml"/><Relationship Id="rId6" Type="http://schemas.openxmlformats.org/officeDocument/2006/relationships/image" Target="../media/image21.emf"/><Relationship Id="rId11" Type="http://schemas.openxmlformats.org/officeDocument/2006/relationships/image" Target="../media/image23.emf"/><Relationship Id="rId5" Type="http://schemas.openxmlformats.org/officeDocument/2006/relationships/oleObject" Target="../embeddings/oleObject1.bin"/><Relationship Id="rId10" Type="http://schemas.openxmlformats.org/officeDocument/2006/relationships/oleObject" Target="../embeddings/oleObject3.bin"/><Relationship Id="rId4" Type="http://schemas.openxmlformats.org/officeDocument/2006/relationships/image" Target="../media/image24.png"/><Relationship Id="rId9" Type="http://schemas.openxmlformats.org/officeDocument/2006/relationships/image" Target="../media/image22.emf"/></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notesSlide" Target="../notesSlides/notesSlide12.xml"/><Relationship Id="rId7" Type="http://schemas.openxmlformats.org/officeDocument/2006/relationships/image" Target="../media/image27.emf"/><Relationship Id="rId2" Type="http://schemas.openxmlformats.org/officeDocument/2006/relationships/slideLayout" Target="../slideLayouts/slideLayout45.xml"/><Relationship Id="rId1" Type="http://schemas.openxmlformats.org/officeDocument/2006/relationships/vmlDrawing" Target="../drawings/vmlDrawing2.vml"/><Relationship Id="rId6" Type="http://schemas.openxmlformats.org/officeDocument/2006/relationships/oleObject" Target="../embeddings/oleObject5.bin"/><Relationship Id="rId11" Type="http://schemas.openxmlformats.org/officeDocument/2006/relationships/image" Target="../media/image29.emf"/><Relationship Id="rId5" Type="http://schemas.openxmlformats.org/officeDocument/2006/relationships/image" Target="../media/image26.emf"/><Relationship Id="rId10" Type="http://schemas.openxmlformats.org/officeDocument/2006/relationships/oleObject" Target="../embeddings/oleObject7.bin"/><Relationship Id="rId4" Type="http://schemas.openxmlformats.org/officeDocument/2006/relationships/oleObject" Target="../embeddings/oleObject4.bin"/><Relationship Id="rId9" Type="http://schemas.openxmlformats.org/officeDocument/2006/relationships/image" Target="../media/image28.e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10.bin"/><Relationship Id="rId13" Type="http://schemas.openxmlformats.org/officeDocument/2006/relationships/image" Target="../media/image35.emf"/><Relationship Id="rId18" Type="http://schemas.openxmlformats.org/officeDocument/2006/relationships/oleObject" Target="../embeddings/oleObject15.bin"/><Relationship Id="rId3" Type="http://schemas.openxmlformats.org/officeDocument/2006/relationships/notesSlide" Target="../notesSlides/notesSlide20.xml"/><Relationship Id="rId21" Type="http://schemas.openxmlformats.org/officeDocument/2006/relationships/image" Target="../media/image39.emf"/><Relationship Id="rId7" Type="http://schemas.openxmlformats.org/officeDocument/2006/relationships/image" Target="../media/image32.emf"/><Relationship Id="rId12" Type="http://schemas.openxmlformats.org/officeDocument/2006/relationships/oleObject" Target="../embeddings/oleObject12.bin"/><Relationship Id="rId17" Type="http://schemas.openxmlformats.org/officeDocument/2006/relationships/image" Target="../media/image37.emf"/><Relationship Id="rId25" Type="http://schemas.openxmlformats.org/officeDocument/2006/relationships/image" Target="../media/image40.emf"/><Relationship Id="rId2" Type="http://schemas.openxmlformats.org/officeDocument/2006/relationships/slideLayout" Target="../slideLayouts/slideLayout45.xml"/><Relationship Id="rId16" Type="http://schemas.openxmlformats.org/officeDocument/2006/relationships/oleObject" Target="../embeddings/oleObject14.bin"/><Relationship Id="rId20" Type="http://schemas.openxmlformats.org/officeDocument/2006/relationships/oleObject" Target="../embeddings/oleObject16.bin"/><Relationship Id="rId1" Type="http://schemas.openxmlformats.org/officeDocument/2006/relationships/vmlDrawing" Target="../drawings/vmlDrawing3.vml"/><Relationship Id="rId6" Type="http://schemas.openxmlformats.org/officeDocument/2006/relationships/oleObject" Target="../embeddings/oleObject9.bin"/><Relationship Id="rId11" Type="http://schemas.openxmlformats.org/officeDocument/2006/relationships/image" Target="../media/image34.emf"/><Relationship Id="rId24" Type="http://schemas.openxmlformats.org/officeDocument/2006/relationships/oleObject" Target="../embeddings/oleObject19.bin"/><Relationship Id="rId5" Type="http://schemas.openxmlformats.org/officeDocument/2006/relationships/image" Target="../media/image31.emf"/><Relationship Id="rId15" Type="http://schemas.openxmlformats.org/officeDocument/2006/relationships/image" Target="../media/image36.emf"/><Relationship Id="rId23" Type="http://schemas.openxmlformats.org/officeDocument/2006/relationships/oleObject" Target="../embeddings/oleObject18.bin"/><Relationship Id="rId10" Type="http://schemas.openxmlformats.org/officeDocument/2006/relationships/oleObject" Target="../embeddings/oleObject11.bin"/><Relationship Id="rId19" Type="http://schemas.openxmlformats.org/officeDocument/2006/relationships/image" Target="../media/image38.emf"/><Relationship Id="rId4" Type="http://schemas.openxmlformats.org/officeDocument/2006/relationships/oleObject" Target="../embeddings/oleObject8.bin"/><Relationship Id="rId9" Type="http://schemas.openxmlformats.org/officeDocument/2006/relationships/image" Target="../media/image33.emf"/><Relationship Id="rId14" Type="http://schemas.openxmlformats.org/officeDocument/2006/relationships/oleObject" Target="../embeddings/oleObject13.bin"/><Relationship Id="rId22" Type="http://schemas.openxmlformats.org/officeDocument/2006/relationships/oleObject" Target="../embeddings/oleObject17.bin"/></Relationships>
</file>

<file path=ppt/slides/_rels/slide2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21.xml"/><Relationship Id="rId1" Type="http://schemas.openxmlformats.org/officeDocument/2006/relationships/slideLayout" Target="../slideLayouts/slideLayout16.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2.xml"/><Relationship Id="rId1" Type="http://schemas.openxmlformats.org/officeDocument/2006/relationships/slideLayout" Target="../slideLayouts/slideLayout45.xml"/></Relationships>
</file>

<file path=ppt/slides/_rels/slide23.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23.xml"/><Relationship Id="rId1" Type="http://schemas.openxmlformats.org/officeDocument/2006/relationships/slideLayout" Target="../slideLayouts/slideLayout70.xml"/><Relationship Id="rId4" Type="http://schemas.openxmlformats.org/officeDocument/2006/relationships/image" Target="../media/image48.e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5.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5.xml"/><Relationship Id="rId1" Type="http://schemas.openxmlformats.org/officeDocument/2006/relationships/slideLayout" Target="../slideLayouts/slideLayout45.xml"/><Relationship Id="rId5" Type="http://schemas.openxmlformats.org/officeDocument/2006/relationships/image" Target="../media/image51.jpg"/><Relationship Id="rId4" Type="http://schemas.openxmlformats.org/officeDocument/2006/relationships/image" Target="../media/image50.jpg"/></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7.xml"/><Relationship Id="rId1" Type="http://schemas.openxmlformats.org/officeDocument/2006/relationships/slideLayout" Target="../slideLayouts/slideLayout63.xml"/></Relationships>
</file>

<file path=ppt/slides/_rels/slide2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8.xml"/><Relationship Id="rId1" Type="http://schemas.openxmlformats.org/officeDocument/2006/relationships/slideLayout" Target="../slideLayouts/slideLayout6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image" Target="../media/image17.emf"/><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notesSlide" Target="../notesSlides/notesSlide6.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slideLayout" Target="../slideLayouts/slideLayout94.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s>
</file>

<file path=ppt/slides/_rels/slide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7.xml"/><Relationship Id="rId1" Type="http://schemas.openxmlformats.org/officeDocument/2006/relationships/slideLayout" Target="../slideLayouts/slideLayout59.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59.xml"/><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ED8B437-2D1D-43CC-8087-44FB4BD2A281}"/>
              </a:ext>
            </a:extLst>
          </p:cNvPr>
          <p:cNvSpPr txBox="1"/>
          <p:nvPr/>
        </p:nvSpPr>
        <p:spPr>
          <a:xfrm>
            <a:off x="740465" y="2032552"/>
            <a:ext cx="9124121" cy="1292662"/>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Azure SQL Database, SQL Managed Instance</a:t>
            </a:r>
            <a:br>
              <a:rPr lang="en-US" sz="3600" dirty="0">
                <a:gradFill>
                  <a:gsLst>
                    <a:gs pos="2917">
                      <a:schemeClr val="tx1"/>
                    </a:gs>
                    <a:gs pos="30000">
                      <a:schemeClr val="tx1"/>
                    </a:gs>
                  </a:gsLst>
                  <a:lin ang="5400000" scaled="0"/>
                </a:gradFill>
              </a:rPr>
            </a:br>
            <a:r>
              <a:rPr lang="en-US" sz="3600" dirty="0">
                <a:gradFill>
                  <a:gsLst>
                    <a:gs pos="2917">
                      <a:schemeClr val="tx1"/>
                    </a:gs>
                    <a:gs pos="30000">
                      <a:schemeClr val="tx1"/>
                    </a:gs>
                  </a:gsLst>
                  <a:lin ang="5400000" scaled="0"/>
                </a:gradFill>
              </a:rPr>
              <a:t>and Azure Hybrid Benefit for SQL Server</a:t>
            </a:r>
          </a:p>
        </p:txBody>
      </p:sp>
    </p:spTree>
    <p:extLst>
      <p:ext uri="{BB962C8B-B14F-4D97-AF65-F5344CB8AC3E}">
        <p14:creationId xmlns:p14="http://schemas.microsoft.com/office/powerpoint/2010/main" val="189778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36378" y="2198472"/>
            <a:ext cx="11653523" cy="1015663"/>
          </a:xfrm>
        </p:spPr>
        <p:txBody>
          <a:bodyPr/>
          <a:lstStyle/>
          <a:p>
            <a:r>
              <a:rPr lang="en-US" sz="6000" dirty="0">
                <a:latin typeface="Segoe UI Semibold" panose="020B0702040204020203" pitchFamily="34" charset="0"/>
                <a:cs typeface="Segoe UI Semibold" panose="020B0702040204020203" pitchFamily="34" charset="0"/>
              </a:rPr>
              <a:t>What is </a:t>
            </a:r>
            <a:r>
              <a:rPr lang="en-US" sz="6000" dirty="0">
                <a:solidFill>
                  <a:srgbClr val="FFFF00"/>
                </a:solidFill>
                <a:latin typeface="Segoe UI Semibold" panose="020B0702040204020203" pitchFamily="34" charset="0"/>
                <a:cs typeface="Segoe UI Semibold" panose="020B0702040204020203" pitchFamily="34" charset="0"/>
              </a:rPr>
              <a:t>Managed Instance</a:t>
            </a:r>
            <a:r>
              <a:rPr lang="en-US" sz="6000" dirty="0">
                <a:latin typeface="Segoe UI Semibold" panose="020B0702040204020203" pitchFamily="34" charset="0"/>
                <a:cs typeface="Segoe UI Semibold" panose="020B0702040204020203" pitchFamily="34" charset="0"/>
              </a:rPr>
              <a:t>?</a:t>
            </a:r>
          </a:p>
        </p:txBody>
      </p:sp>
    </p:spTree>
    <p:extLst>
      <p:ext uri="{BB962C8B-B14F-4D97-AF65-F5344CB8AC3E}">
        <p14:creationId xmlns:p14="http://schemas.microsoft.com/office/powerpoint/2010/main" val="1666887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EFE60F-245B-499E-B504-B2838D4A1964}"/>
              </a:ext>
            </a:extLst>
          </p:cNvPr>
          <p:cNvSpPr>
            <a:spLocks noGrp="1"/>
          </p:cNvSpPr>
          <p:nvPr>
            <p:ph type="title"/>
          </p:nvPr>
        </p:nvSpPr>
        <p:spPr>
          <a:xfrm>
            <a:off x="324465" y="334170"/>
            <a:ext cx="11381306" cy="892552"/>
          </a:xfrm>
        </p:spPr>
        <p:txBody>
          <a:bodyPr/>
          <a:lstStyle/>
          <a:p>
            <a:r>
              <a:rPr lang="en-US" sz="3137" cap="all" spc="500" dirty="0">
                <a:solidFill>
                  <a:schemeClr val="tx2"/>
                </a:solidFill>
                <a:latin typeface="Segoe UI Semilight" charset="0"/>
                <a:cs typeface="Segoe UI Semilight" charset="0"/>
              </a:rPr>
              <a:t>Why Azure SQL Managed Instance?</a:t>
            </a:r>
          </a:p>
        </p:txBody>
      </p:sp>
      <p:sp>
        <p:nvSpPr>
          <p:cNvPr id="6" name="Text Placeholder 5"/>
          <p:cNvSpPr>
            <a:spLocks noGrp="1"/>
          </p:cNvSpPr>
          <p:nvPr>
            <p:ph type="body" sz="quarter" idx="4294967295"/>
          </p:nvPr>
        </p:nvSpPr>
        <p:spPr>
          <a:xfrm>
            <a:off x="7260535" y="1486746"/>
            <a:ext cx="4931465" cy="3403306"/>
          </a:xfrm>
        </p:spPr>
        <p:txBody>
          <a:bodyPr>
            <a:normAutofit fontScale="92500" lnSpcReduction="20000"/>
          </a:bodyPr>
          <a:lstStyle/>
          <a:p>
            <a:pPr>
              <a:lnSpc>
                <a:spcPct val="150000"/>
              </a:lnSpc>
            </a:pPr>
            <a:r>
              <a:rPr lang="en-US" sz="2600" kern="0" spc="100" dirty="0">
                <a:solidFill>
                  <a:schemeClr val="tx2"/>
                </a:solidFill>
                <a:latin typeface="Segoe UI Semibold" charset="0"/>
                <a:cs typeface="Segoe UI Semibold" charset="0"/>
              </a:rPr>
              <a:t>Are your customers interested in moving to cloud?</a:t>
            </a:r>
          </a:p>
          <a:p>
            <a:pPr marL="778602" lvl="2" indent="-342900">
              <a:lnSpc>
                <a:spcPct val="120000"/>
              </a:lnSpc>
              <a:spcBef>
                <a:spcPts val="588"/>
              </a:spcBef>
            </a:pPr>
            <a:r>
              <a:rPr lang="en-US" sz="1863" kern="0" dirty="0">
                <a:solidFill>
                  <a:srgbClr val="0078D7"/>
                </a:solidFill>
                <a:latin typeface="Segoe UI Semilight" panose="020B0402040204020203" pitchFamily="34" charset="0"/>
                <a:cs typeface="Segoe UI Semilight" panose="020B0402040204020203" pitchFamily="34" charset="0"/>
              </a:rPr>
              <a:t>Want to close your data center</a:t>
            </a:r>
          </a:p>
          <a:p>
            <a:pPr marL="778602" lvl="2" indent="-342900">
              <a:lnSpc>
                <a:spcPct val="120000"/>
              </a:lnSpc>
              <a:spcBef>
                <a:spcPts val="588"/>
              </a:spcBef>
            </a:pPr>
            <a:r>
              <a:rPr lang="en-US" sz="1863" kern="0" dirty="0">
                <a:solidFill>
                  <a:srgbClr val="0078D7"/>
                </a:solidFill>
                <a:latin typeface="Segoe UI Semilight" panose="020B0402040204020203" pitchFamily="34" charset="0"/>
                <a:cs typeface="Segoe UI Semilight" panose="020B0402040204020203" pitchFamily="34" charset="0"/>
              </a:rPr>
              <a:t>Current hosting solution is high maintenance</a:t>
            </a:r>
          </a:p>
          <a:p>
            <a:pPr marL="778602" lvl="2" indent="-342900">
              <a:lnSpc>
                <a:spcPct val="120000"/>
              </a:lnSpc>
              <a:spcBef>
                <a:spcPts val="588"/>
              </a:spcBef>
            </a:pPr>
            <a:r>
              <a:rPr lang="en-US" sz="1863" kern="0" dirty="0">
                <a:solidFill>
                  <a:srgbClr val="0078D7"/>
                </a:solidFill>
                <a:latin typeface="Segoe UI Semilight" panose="020B0402040204020203" pitchFamily="34" charset="0"/>
                <a:cs typeface="Segoe UI Semilight" panose="020B0402040204020203" pitchFamily="34" charset="0"/>
              </a:rPr>
              <a:t>You’re asked to do more with less</a:t>
            </a:r>
          </a:p>
          <a:p>
            <a:pPr marL="778602" lvl="2" indent="-342900">
              <a:lnSpc>
                <a:spcPct val="120000"/>
              </a:lnSpc>
              <a:spcBef>
                <a:spcPts val="588"/>
              </a:spcBef>
            </a:pPr>
            <a:r>
              <a:rPr lang="en-US" sz="1863" kern="0" dirty="0">
                <a:solidFill>
                  <a:srgbClr val="0078D7"/>
                </a:solidFill>
                <a:latin typeface="Segoe UI Semilight" panose="020B0402040204020203" pitchFamily="34" charset="0"/>
                <a:cs typeface="Segoe UI Semilight" panose="020B0402040204020203" pitchFamily="34" charset="0"/>
              </a:rPr>
              <a:t>Want to expand your reach globally</a:t>
            </a:r>
          </a:p>
        </p:txBody>
      </p:sp>
      <p:pic>
        <p:nvPicPr>
          <p:cNvPr id="19" name="Picture 18">
            <a:extLst>
              <a:ext uri="{FF2B5EF4-FFF2-40B4-BE49-F238E27FC236}">
                <a16:creationId xmlns:a16="http://schemas.microsoft.com/office/drawing/2014/main" id="{33D9B5BA-0D5E-44A5-A8E4-882109E2F9E4}"/>
              </a:ext>
            </a:extLst>
          </p:cNvPr>
          <p:cNvPicPr>
            <a:picLocks noChangeAspect="1"/>
          </p:cNvPicPr>
          <p:nvPr/>
        </p:nvPicPr>
        <p:blipFill>
          <a:blip r:embed="rId4"/>
          <a:stretch>
            <a:fillRect/>
          </a:stretch>
        </p:blipFill>
        <p:spPr>
          <a:xfrm>
            <a:off x="4613473" y="2834526"/>
            <a:ext cx="969593" cy="2873413"/>
          </a:xfrm>
          <a:prstGeom prst="rect">
            <a:avLst/>
          </a:prstGeom>
        </p:spPr>
      </p:pic>
      <p:sp>
        <p:nvSpPr>
          <p:cNvPr id="20" name="TextBox 19"/>
          <p:cNvSpPr txBox="1"/>
          <p:nvPr/>
        </p:nvSpPr>
        <p:spPr>
          <a:xfrm>
            <a:off x="1479099" y="2669083"/>
            <a:ext cx="2939318" cy="778454"/>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765" dirty="0">
                <a:solidFill>
                  <a:srgbClr val="737373"/>
                </a:solidFill>
                <a:latin typeface="Segoe UI"/>
              </a:rPr>
              <a:t>Managed Instance brings </a:t>
            </a:r>
            <a:br>
              <a:rPr lang="en-US" sz="1765" dirty="0">
                <a:solidFill>
                  <a:srgbClr val="737373"/>
                </a:solidFill>
                <a:latin typeface="Segoe UI"/>
              </a:rPr>
            </a:br>
            <a:r>
              <a:rPr lang="en-US" sz="1765" dirty="0">
                <a:solidFill>
                  <a:srgbClr val="737373"/>
                </a:solidFill>
                <a:latin typeface="Segoe UI"/>
              </a:rPr>
              <a:t>PaaS closer to you!</a:t>
            </a:r>
          </a:p>
        </p:txBody>
      </p:sp>
      <p:graphicFrame>
        <p:nvGraphicFramePr>
          <p:cNvPr id="4" name="Object 3">
            <a:extLst>
              <a:ext uri="{FF2B5EF4-FFF2-40B4-BE49-F238E27FC236}">
                <a16:creationId xmlns:a16="http://schemas.microsoft.com/office/drawing/2014/main" id="{8072A3D8-B8E6-4657-A60E-4C852C1B52B6}"/>
              </a:ext>
            </a:extLst>
          </p:cNvPr>
          <p:cNvGraphicFramePr>
            <a:graphicFrameLocks noChangeAspect="1"/>
          </p:cNvGraphicFramePr>
          <p:nvPr>
            <p:extLst/>
          </p:nvPr>
        </p:nvGraphicFramePr>
        <p:xfrm>
          <a:off x="3991304" y="1486746"/>
          <a:ext cx="2056869" cy="1236758"/>
        </p:xfrm>
        <a:graphic>
          <a:graphicData uri="http://schemas.openxmlformats.org/presentationml/2006/ole">
            <mc:AlternateContent xmlns:mc="http://schemas.openxmlformats.org/markup-compatibility/2006">
              <mc:Choice xmlns:v="urn:schemas-microsoft-com:vml" Requires="v">
                <p:oleObj spid="_x0000_s3158" name="CorelDRAW" r:id="rId5" imgW="1657458" imgH="1046661" progId="CorelDraw.Graphic.17">
                  <p:embed/>
                </p:oleObj>
              </mc:Choice>
              <mc:Fallback>
                <p:oleObj name="CorelDRAW" r:id="rId5" imgW="1657458" imgH="1046661" progId="CorelDraw.Graphic.17">
                  <p:embed/>
                  <p:pic>
                    <p:nvPicPr>
                      <p:cNvPr id="4" name="Object 3">
                        <a:extLst>
                          <a:ext uri="{FF2B5EF4-FFF2-40B4-BE49-F238E27FC236}">
                            <a16:creationId xmlns:a16="http://schemas.microsoft.com/office/drawing/2014/main" id="{8072A3D8-B8E6-4657-A60E-4C852C1B52B6}"/>
                          </a:ext>
                        </a:extLst>
                      </p:cNvPr>
                      <p:cNvPicPr/>
                      <p:nvPr/>
                    </p:nvPicPr>
                    <p:blipFill>
                      <a:blip r:embed="rId6"/>
                      <a:stretch>
                        <a:fillRect/>
                      </a:stretch>
                    </p:blipFill>
                    <p:spPr>
                      <a:xfrm>
                        <a:off x="3991304" y="1486746"/>
                        <a:ext cx="2056869" cy="123675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523A6D5A-A98A-4915-A800-2BC16EA722EF}"/>
              </a:ext>
            </a:extLst>
          </p:cNvPr>
          <p:cNvPicPr>
            <a:picLocks noChangeAspect="1"/>
          </p:cNvPicPr>
          <p:nvPr/>
        </p:nvPicPr>
        <p:blipFill>
          <a:blip r:embed="rId7"/>
          <a:stretch>
            <a:fillRect/>
          </a:stretch>
        </p:blipFill>
        <p:spPr>
          <a:xfrm>
            <a:off x="4740670" y="4539272"/>
            <a:ext cx="742643" cy="1130532"/>
          </a:xfrm>
          <a:prstGeom prst="rect">
            <a:avLst/>
          </a:prstGeom>
        </p:spPr>
      </p:pic>
      <p:graphicFrame>
        <p:nvGraphicFramePr>
          <p:cNvPr id="7" name="Object 6">
            <a:extLst>
              <a:ext uri="{FF2B5EF4-FFF2-40B4-BE49-F238E27FC236}">
                <a16:creationId xmlns:a16="http://schemas.microsoft.com/office/drawing/2014/main" id="{EE423D0C-FC71-4235-96BC-E6FADA7A3D5C}"/>
              </a:ext>
            </a:extLst>
          </p:cNvPr>
          <p:cNvGraphicFramePr>
            <a:graphicFrameLocks noChangeAspect="1"/>
          </p:cNvGraphicFramePr>
          <p:nvPr>
            <p:extLst/>
          </p:nvPr>
        </p:nvGraphicFramePr>
        <p:xfrm>
          <a:off x="4647474" y="5716772"/>
          <a:ext cx="1027707" cy="1004386"/>
        </p:xfrm>
        <a:graphic>
          <a:graphicData uri="http://schemas.openxmlformats.org/presentationml/2006/ole">
            <mc:AlternateContent xmlns:mc="http://schemas.openxmlformats.org/markup-compatibility/2006">
              <mc:Choice xmlns:v="urn:schemas-microsoft-com:vml" Requires="v">
                <p:oleObj spid="_x0000_s3159" name="CorelDRAW" r:id="rId8" imgW="365964" imgH="376374" progId="CorelDraw.Graphic.17">
                  <p:embed/>
                </p:oleObj>
              </mc:Choice>
              <mc:Fallback>
                <p:oleObj name="CorelDRAW" r:id="rId8" imgW="365964" imgH="376374" progId="CorelDraw.Graphic.17">
                  <p:embed/>
                  <p:pic>
                    <p:nvPicPr>
                      <p:cNvPr id="7" name="Object 6">
                        <a:extLst>
                          <a:ext uri="{FF2B5EF4-FFF2-40B4-BE49-F238E27FC236}">
                            <a16:creationId xmlns:a16="http://schemas.microsoft.com/office/drawing/2014/main" id="{EE423D0C-FC71-4235-96BC-E6FADA7A3D5C}"/>
                          </a:ext>
                        </a:extLst>
                      </p:cNvPr>
                      <p:cNvPicPr/>
                      <p:nvPr/>
                    </p:nvPicPr>
                    <p:blipFill>
                      <a:blip r:embed="rId9"/>
                      <a:stretch>
                        <a:fillRect/>
                      </a:stretch>
                    </p:blipFill>
                    <p:spPr>
                      <a:xfrm>
                        <a:off x="4647474" y="5716772"/>
                        <a:ext cx="1027707" cy="1004386"/>
                      </a:xfrm>
                      <a:prstGeom prst="rect">
                        <a:avLst/>
                      </a:prstGeom>
                    </p:spPr>
                  </p:pic>
                </p:oleObj>
              </mc:Fallback>
            </mc:AlternateContent>
          </a:graphicData>
        </a:graphic>
      </p:graphicFrame>
      <p:sp>
        <p:nvSpPr>
          <p:cNvPr id="25" name="Speech Bubble: Oval 24">
            <a:extLst>
              <a:ext uri="{FF2B5EF4-FFF2-40B4-BE49-F238E27FC236}">
                <a16:creationId xmlns:a16="http://schemas.microsoft.com/office/drawing/2014/main" id="{C2C0B106-A98A-4777-B209-029CB4732618}"/>
              </a:ext>
            </a:extLst>
          </p:cNvPr>
          <p:cNvSpPr/>
          <p:nvPr/>
        </p:nvSpPr>
        <p:spPr bwMode="auto">
          <a:xfrm flipH="1">
            <a:off x="1335378" y="3628092"/>
            <a:ext cx="1632463" cy="1329907"/>
          </a:xfrm>
          <a:prstGeom prst="wedgeEllipseCallout">
            <a:avLst>
              <a:gd name="adj1" fmla="val -40665"/>
              <a:gd name="adj2" fmla="val 5960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5294" b="1" dirty="0">
                <a:solidFill>
                  <a:srgbClr val="BAD80A"/>
                </a:solidFill>
                <a:latin typeface="Segoe UI" panose="020B0502040204020203" pitchFamily="34" charset="0"/>
                <a:ea typeface="Segoe UI" panose="020B0502040204020203" pitchFamily="34" charset="0"/>
                <a:cs typeface="Segoe UI" panose="020B0502040204020203" pitchFamily="34" charset="0"/>
              </a:rPr>
              <a:t>???</a:t>
            </a:r>
          </a:p>
        </p:txBody>
      </p:sp>
      <p:graphicFrame>
        <p:nvGraphicFramePr>
          <p:cNvPr id="14" name="Object 13">
            <a:extLst>
              <a:ext uri="{FF2B5EF4-FFF2-40B4-BE49-F238E27FC236}">
                <a16:creationId xmlns:a16="http://schemas.microsoft.com/office/drawing/2014/main" id="{CF7C7770-E331-4DC8-9B6A-B25CA9F839B2}"/>
              </a:ext>
            </a:extLst>
          </p:cNvPr>
          <p:cNvGraphicFramePr>
            <a:graphicFrameLocks noChangeAspect="1"/>
          </p:cNvGraphicFramePr>
          <p:nvPr>
            <p:extLst/>
          </p:nvPr>
        </p:nvGraphicFramePr>
        <p:xfrm>
          <a:off x="2311278" y="5138554"/>
          <a:ext cx="1544088" cy="1467957"/>
        </p:xfrm>
        <a:graphic>
          <a:graphicData uri="http://schemas.openxmlformats.org/presentationml/2006/ole">
            <mc:AlternateContent xmlns:mc="http://schemas.openxmlformats.org/markup-compatibility/2006">
              <mc:Choice xmlns:v="urn:schemas-microsoft-com:vml" Requires="v">
                <p:oleObj spid="_x0000_s3160" name="CorelDRAW" r:id="rId10" imgW="809124" imgH="808672" progId="CorelDraw.Graphic.17">
                  <p:embed/>
                </p:oleObj>
              </mc:Choice>
              <mc:Fallback>
                <p:oleObj name="CorelDRAW" r:id="rId10" imgW="809124" imgH="808672" progId="CorelDraw.Graphic.17">
                  <p:embed/>
                  <p:pic>
                    <p:nvPicPr>
                      <p:cNvPr id="14" name="Object 13">
                        <a:extLst>
                          <a:ext uri="{FF2B5EF4-FFF2-40B4-BE49-F238E27FC236}">
                            <a16:creationId xmlns:a16="http://schemas.microsoft.com/office/drawing/2014/main" id="{CF7C7770-E331-4DC8-9B6A-B25CA9F839B2}"/>
                          </a:ext>
                        </a:extLst>
                      </p:cNvPr>
                      <p:cNvPicPr/>
                      <p:nvPr/>
                    </p:nvPicPr>
                    <p:blipFill>
                      <a:blip r:embed="rId11"/>
                      <a:stretch>
                        <a:fillRect/>
                      </a:stretch>
                    </p:blipFill>
                    <p:spPr>
                      <a:xfrm>
                        <a:off x="2311278" y="5138554"/>
                        <a:ext cx="1544088" cy="1467957"/>
                      </a:xfrm>
                      <a:prstGeom prst="rect">
                        <a:avLst/>
                      </a:prstGeom>
                    </p:spPr>
                  </p:pic>
                </p:oleObj>
              </mc:Fallback>
            </mc:AlternateContent>
          </a:graphicData>
        </a:graphic>
      </p:graphicFrame>
      <p:sp>
        <p:nvSpPr>
          <p:cNvPr id="10" name="Text Placeholder 5">
            <a:extLst>
              <a:ext uri="{FF2B5EF4-FFF2-40B4-BE49-F238E27FC236}">
                <a16:creationId xmlns:a16="http://schemas.microsoft.com/office/drawing/2014/main" id="{C3454694-1495-4237-9484-F5F0D385C65A}"/>
              </a:ext>
            </a:extLst>
          </p:cNvPr>
          <p:cNvSpPr txBox="1">
            <a:spLocks/>
          </p:cNvSpPr>
          <p:nvPr/>
        </p:nvSpPr>
        <p:spPr>
          <a:xfrm>
            <a:off x="4268631" y="1896674"/>
            <a:ext cx="4623182" cy="5588898"/>
          </a:xfrm>
          <a:prstGeom prst="rect">
            <a:avLst/>
          </a:prstGeom>
        </p:spPr>
        <p:txBody>
          <a:bodyPr vert="horz" wrap="square" lIns="143428" tIns="89642" rIns="143428" bIns="89642" rtlCol="0">
            <a:norm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600" kern="1200" spc="0" baseline="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50000"/>
              </a:lnSpc>
            </a:pPr>
            <a:r>
              <a:rPr lang="en-US" sz="3529" dirty="0">
                <a:solidFill>
                  <a:srgbClr val="D2D2D2">
                    <a:lumMod val="50000"/>
                  </a:srgbClr>
                </a:solidFill>
                <a:latin typeface="Segoe UI Light"/>
              </a:rPr>
              <a:t> </a:t>
            </a:r>
          </a:p>
          <a:p>
            <a:pPr defTabSz="914367">
              <a:lnSpc>
                <a:spcPct val="150000"/>
              </a:lnSpc>
            </a:pPr>
            <a:endParaRPr lang="en-US" sz="3529" dirty="0">
              <a:solidFill>
                <a:srgbClr val="D2D2D2">
                  <a:lumMod val="50000"/>
                </a:srgbClr>
              </a:solidFill>
              <a:latin typeface="Segoe UI Light"/>
            </a:endParaRPr>
          </a:p>
        </p:txBody>
      </p:sp>
      <p:sp>
        <p:nvSpPr>
          <p:cNvPr id="12" name="Text Placeholder 5">
            <a:extLst>
              <a:ext uri="{FF2B5EF4-FFF2-40B4-BE49-F238E27FC236}">
                <a16:creationId xmlns:a16="http://schemas.microsoft.com/office/drawing/2014/main" id="{7EA598A8-505D-415D-9306-3C2DD519DC1A}"/>
              </a:ext>
            </a:extLst>
          </p:cNvPr>
          <p:cNvSpPr txBox="1">
            <a:spLocks/>
          </p:cNvSpPr>
          <p:nvPr/>
        </p:nvSpPr>
        <p:spPr>
          <a:xfrm>
            <a:off x="7307924" y="4792206"/>
            <a:ext cx="4931465" cy="1535596"/>
          </a:xfrm>
          <a:prstGeom prst="rect">
            <a:avLst/>
          </a:prstGeom>
        </p:spPr>
        <p:txBody>
          <a:bodyPr vert="horz" wrap="square" lIns="146304" tIns="91440" rIns="146304" bIns="91440" rtlCol="0">
            <a:normAutofit fontScale="85000" lnSpcReduction="20000"/>
          </a:bodyPr>
          <a:lstStyle>
            <a:lvl1pPr marL="336080" marR="0" indent="-33608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50000"/>
              </a:lnSpc>
            </a:pPr>
            <a:r>
              <a:rPr lang="en-US" sz="2600" kern="0" spc="100" dirty="0">
                <a:solidFill>
                  <a:schemeClr val="tx2"/>
                </a:solidFill>
                <a:latin typeface="Segoe UI Semibold" charset="0"/>
                <a:cs typeface="Segoe UI Semibold" charset="0"/>
              </a:rPr>
              <a:t>Do your customer want to avoid app rewrites but still benefit from PaaS?</a:t>
            </a:r>
          </a:p>
        </p:txBody>
      </p:sp>
    </p:spTree>
    <p:extLst>
      <p:ext uri="{BB962C8B-B14F-4D97-AF65-F5344CB8AC3E}">
        <p14:creationId xmlns:p14="http://schemas.microsoft.com/office/powerpoint/2010/main" val="3887562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42" presetClass="path" presetSubtype="0" accel="50000" decel="50000" fill="hold" nodeType="withEffect">
                                  <p:stCondLst>
                                    <p:cond delay="0"/>
                                  </p:stCondLst>
                                  <p:childTnLst>
                                    <p:animMotion origin="layout" path="M 0 0 L 0 0.25 E" pathEditMode="relative" ptsTypes="">
                                      <p:cBhvr>
                                        <p:cTn id="14" dur="2000" fill="hold"/>
                                        <p:tgtEl>
                                          <p:spTgt spid="4"/>
                                        </p:tgtEl>
                                        <p:attrNameLst>
                                          <p:attrName>ppt_x</p:attrName>
                                          <p:attrName>ppt_y</p:attrName>
                                        </p:attrNameLst>
                                      </p:cBhvr>
                                    </p:animMotion>
                                  </p:childTnLst>
                                </p:cTn>
                              </p:par>
                              <p:par>
                                <p:cTn id="15" presetID="1" presetClass="exit" presetSubtype="0" fill="hold" nodeType="withEffect">
                                  <p:stCondLst>
                                    <p:cond delay="0"/>
                                  </p:stCondLst>
                                  <p:childTnLst>
                                    <p:set>
                                      <p:cBhvr>
                                        <p:cTn id="16" dur="1" fill="hold">
                                          <p:stCondLst>
                                            <p:cond delay="0"/>
                                          </p:stCondLst>
                                        </p:cTn>
                                        <p:tgtEl>
                                          <p:spTgt spid="1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1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8643" y="130987"/>
            <a:ext cx="11655840" cy="899537"/>
          </a:xfrm>
        </p:spPr>
        <p:txBody>
          <a:bodyPr/>
          <a:lstStyle/>
          <a:p>
            <a:r>
              <a:rPr lang="en-US" sz="3137" cap="all" spc="500" dirty="0">
                <a:solidFill>
                  <a:schemeClr val="bg1"/>
                </a:solidFill>
                <a:latin typeface="Segoe UI Semilight" charset="0"/>
                <a:cs typeface="Segoe UI Semilight" charset="0"/>
              </a:rPr>
              <a:t>What is SQL Database Managed Instance?</a:t>
            </a:r>
          </a:p>
        </p:txBody>
      </p:sp>
      <p:grpSp>
        <p:nvGrpSpPr>
          <p:cNvPr id="17" name="Group 16"/>
          <p:cNvGrpSpPr/>
          <p:nvPr/>
        </p:nvGrpSpPr>
        <p:grpSpPr>
          <a:xfrm>
            <a:off x="1863057" y="3297802"/>
            <a:ext cx="2669186" cy="3207359"/>
            <a:chOff x="244978" y="3482920"/>
            <a:chExt cx="2722709" cy="3271674"/>
          </a:xfrm>
        </p:grpSpPr>
        <p:sp>
          <p:nvSpPr>
            <p:cNvPr id="11" name="Freeform: Shape 10"/>
            <p:cNvSpPr/>
            <p:nvPr/>
          </p:nvSpPr>
          <p:spPr>
            <a:xfrm>
              <a:off x="244978" y="3482920"/>
              <a:ext cx="2722709" cy="874544"/>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7333" tIns="95619" rIns="167333" bIns="95619" numCol="1" spcCol="1270" anchor="ctr" anchorCtr="0">
              <a:noAutofit/>
            </a:bodyPr>
            <a:lstStyle/>
            <a:p>
              <a:pPr algn="ctr" defTabSz="1045784">
                <a:lnSpc>
                  <a:spcPct val="90000"/>
                </a:lnSpc>
                <a:spcBef>
                  <a:spcPct val="0"/>
                </a:spcBef>
                <a:spcAft>
                  <a:spcPct val="35000"/>
                </a:spcAft>
              </a:pPr>
              <a:r>
                <a:rPr lang="en-US" sz="1961" dirty="0">
                  <a:solidFill>
                    <a:srgbClr val="FFFFFF"/>
                  </a:solidFill>
                  <a:latin typeface="Segoe UI"/>
                </a:rPr>
                <a:t>Unmatched app compatibility</a:t>
              </a:r>
            </a:p>
          </p:txBody>
        </p:sp>
        <p:sp>
          <p:nvSpPr>
            <p:cNvPr id="12" name="Freeform: Shape 11"/>
            <p:cNvSpPr/>
            <p:nvPr/>
          </p:nvSpPr>
          <p:spPr>
            <a:xfrm>
              <a:off x="244978" y="4413567"/>
              <a:ext cx="2722709" cy="2341027"/>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noFill/>
            <a:ln>
              <a:solidFill>
                <a:schemeClr val="tx2"/>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5499" tIns="125499" rIns="167333" bIns="188249" numCol="1" spcCol="1270" anchor="t" anchorCtr="0">
              <a:noAutofit/>
            </a:bodyPr>
            <a:lstStyle/>
            <a:p>
              <a:pPr marL="0" lvl="1" defTabSz="1045784">
                <a:lnSpc>
                  <a:spcPct val="150000"/>
                </a:lnSpc>
                <a:spcBef>
                  <a:spcPct val="0"/>
                </a:spcBef>
                <a:spcAft>
                  <a:spcPct val="15000"/>
                </a:spcAft>
              </a:pPr>
              <a:r>
                <a:rPr lang="en-US" sz="1765" dirty="0">
                  <a:solidFill>
                    <a:srgbClr val="0078D7"/>
                  </a:solidFill>
                  <a:latin typeface="Segoe UI"/>
                </a:rPr>
                <a:t>Fully-fledged SQL instance with nearly 100% compat with on-prem</a:t>
              </a:r>
            </a:p>
          </p:txBody>
        </p:sp>
      </p:grpSp>
      <p:grpSp>
        <p:nvGrpSpPr>
          <p:cNvPr id="18" name="Group 17"/>
          <p:cNvGrpSpPr/>
          <p:nvPr/>
        </p:nvGrpSpPr>
        <p:grpSpPr>
          <a:xfrm>
            <a:off x="4567030" y="3297802"/>
            <a:ext cx="2792896" cy="3207359"/>
            <a:chOff x="3124800" y="3482920"/>
            <a:chExt cx="2526158" cy="3104687"/>
          </a:xfrm>
        </p:grpSpPr>
        <p:sp>
          <p:nvSpPr>
            <p:cNvPr id="13" name="Freeform: Shape 12"/>
            <p:cNvSpPr/>
            <p:nvPr/>
          </p:nvSpPr>
          <p:spPr>
            <a:xfrm>
              <a:off x="3124800" y="3482920"/>
              <a:ext cx="2526158" cy="829907"/>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solidFill>
              <a:schemeClr val="accent2"/>
            </a:solidFill>
            <a:ln>
              <a:noFill/>
            </a:ln>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67333" tIns="95619" rIns="167333" bIns="95619" numCol="1" spcCol="1270" anchor="ctr" anchorCtr="0">
              <a:noAutofit/>
            </a:bodyPr>
            <a:lstStyle/>
            <a:p>
              <a:pPr algn="ctr" defTabSz="1045784">
                <a:lnSpc>
                  <a:spcPct val="90000"/>
                </a:lnSpc>
                <a:spcBef>
                  <a:spcPct val="0"/>
                </a:spcBef>
                <a:spcAft>
                  <a:spcPct val="35000"/>
                </a:spcAft>
              </a:pPr>
              <a:r>
                <a:rPr lang="en-US" sz="1961" dirty="0">
                  <a:solidFill>
                    <a:srgbClr val="FFFFFF"/>
                  </a:solidFill>
                  <a:latin typeface="Segoe UI"/>
                </a:rPr>
                <a:t>Unmatched PaaS capabilities</a:t>
              </a:r>
            </a:p>
          </p:txBody>
        </p:sp>
        <p:sp>
          <p:nvSpPr>
            <p:cNvPr id="14" name="Freeform: Shape 13"/>
            <p:cNvSpPr/>
            <p:nvPr/>
          </p:nvSpPr>
          <p:spPr>
            <a:xfrm>
              <a:off x="3124800" y="4352591"/>
              <a:ext cx="2526158" cy="2235016"/>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noFill/>
            <a:ln>
              <a:solidFill>
                <a:srgbClr val="0078D7"/>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5499" tIns="125499" rIns="167333" bIns="188249" numCol="1" spcCol="1270" anchor="t" anchorCtr="0">
              <a:noAutofit/>
            </a:bodyPr>
            <a:lstStyle/>
            <a:p>
              <a:pPr marL="0" lvl="1" defTabSz="1045784">
                <a:lnSpc>
                  <a:spcPct val="150000"/>
                </a:lnSpc>
                <a:spcBef>
                  <a:spcPct val="0"/>
                </a:spcBef>
                <a:spcAft>
                  <a:spcPct val="15000"/>
                </a:spcAft>
              </a:pPr>
              <a:r>
                <a:rPr lang="en-US" sz="1765" dirty="0">
                  <a:solidFill>
                    <a:srgbClr val="0078D7"/>
                  </a:solidFill>
                  <a:latin typeface="Segoe UI"/>
                </a:rPr>
                <a:t>Lowest TCO + rich Azure ecosystem</a:t>
              </a:r>
            </a:p>
            <a:p>
              <a:pPr marL="0" lvl="1" defTabSz="1045784">
                <a:lnSpc>
                  <a:spcPct val="150000"/>
                </a:lnSpc>
                <a:spcBef>
                  <a:spcPct val="0"/>
                </a:spcBef>
                <a:spcAft>
                  <a:spcPct val="15000"/>
                </a:spcAft>
              </a:pPr>
              <a:r>
                <a:rPr lang="en-US" sz="1765" dirty="0">
                  <a:solidFill>
                    <a:srgbClr val="0078D7"/>
                  </a:solidFill>
                  <a:latin typeface="Segoe UI"/>
                </a:rPr>
                <a:t>Built-in automatic management</a:t>
              </a:r>
            </a:p>
            <a:p>
              <a:pPr marL="0" lvl="1" defTabSz="1045784">
                <a:lnSpc>
                  <a:spcPct val="150000"/>
                </a:lnSpc>
                <a:spcBef>
                  <a:spcPct val="0"/>
                </a:spcBef>
                <a:spcAft>
                  <a:spcPct val="15000"/>
                </a:spcAft>
              </a:pPr>
              <a:r>
                <a:rPr lang="en-US" sz="1765" dirty="0">
                  <a:solidFill>
                    <a:srgbClr val="0078D7"/>
                  </a:solidFill>
                  <a:latin typeface="Segoe UI"/>
                </a:rPr>
                <a:t>Compliance certifications</a:t>
              </a:r>
            </a:p>
          </p:txBody>
        </p:sp>
      </p:grpSp>
      <p:grpSp>
        <p:nvGrpSpPr>
          <p:cNvPr id="19" name="Group 18"/>
          <p:cNvGrpSpPr/>
          <p:nvPr/>
        </p:nvGrpSpPr>
        <p:grpSpPr>
          <a:xfrm>
            <a:off x="7434470" y="3279596"/>
            <a:ext cx="2551507" cy="3225566"/>
            <a:chOff x="6004621" y="3464349"/>
            <a:chExt cx="2526158" cy="3075869"/>
          </a:xfrm>
        </p:grpSpPr>
        <p:sp>
          <p:nvSpPr>
            <p:cNvPr id="15" name="Freeform: Shape 14"/>
            <p:cNvSpPr/>
            <p:nvPr/>
          </p:nvSpPr>
          <p:spPr>
            <a:xfrm>
              <a:off x="6004621" y="3464349"/>
              <a:ext cx="2526158" cy="834924"/>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solidFill>
              <a:schemeClr val="accent3"/>
            </a:solidFill>
            <a:ln>
              <a:noFill/>
            </a:ln>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67333" tIns="95619" rIns="167333" bIns="95619" numCol="1" spcCol="1270" anchor="ctr" anchorCtr="0">
              <a:noAutofit/>
            </a:bodyPr>
            <a:lstStyle/>
            <a:p>
              <a:pPr algn="ctr" defTabSz="1045784">
                <a:lnSpc>
                  <a:spcPct val="90000"/>
                </a:lnSpc>
                <a:spcBef>
                  <a:spcPct val="0"/>
                </a:spcBef>
                <a:spcAft>
                  <a:spcPct val="35000"/>
                </a:spcAft>
              </a:pPr>
              <a:r>
                <a:rPr lang="en-US" sz="1961" dirty="0">
                  <a:solidFill>
                    <a:srgbClr val="FFFFFF"/>
                  </a:solidFill>
                  <a:latin typeface="Segoe UI"/>
                </a:rPr>
                <a:t>Favorable business model</a:t>
              </a:r>
            </a:p>
          </p:txBody>
        </p:sp>
        <p:sp>
          <p:nvSpPr>
            <p:cNvPr id="16" name="Freeform: Shape 15"/>
            <p:cNvSpPr/>
            <p:nvPr/>
          </p:nvSpPr>
          <p:spPr>
            <a:xfrm>
              <a:off x="6004621" y="4338446"/>
              <a:ext cx="2526158" cy="2201772"/>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noFill/>
            <a:ln>
              <a:solidFill>
                <a:srgbClr val="0078D7"/>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5499" tIns="125499" rIns="167333" bIns="188249" numCol="1" spcCol="1270" anchor="t" anchorCtr="0">
              <a:noAutofit/>
            </a:bodyPr>
            <a:lstStyle/>
            <a:p>
              <a:pPr marL="0" lvl="1" defTabSz="1045784">
                <a:lnSpc>
                  <a:spcPct val="150000"/>
                </a:lnSpc>
                <a:spcBef>
                  <a:spcPct val="0"/>
                </a:spcBef>
                <a:spcAft>
                  <a:spcPct val="15000"/>
                </a:spcAft>
              </a:pPr>
              <a:r>
                <a:rPr lang="en-US" sz="1765" dirty="0">
                  <a:solidFill>
                    <a:srgbClr val="0078D7"/>
                  </a:solidFill>
                  <a:latin typeface="Segoe UI"/>
                </a:rPr>
                <a:t>Competitive</a:t>
              </a:r>
            </a:p>
            <a:p>
              <a:pPr marL="0" lvl="1" defTabSz="1045784">
                <a:lnSpc>
                  <a:spcPct val="150000"/>
                </a:lnSpc>
                <a:spcBef>
                  <a:spcPct val="0"/>
                </a:spcBef>
                <a:spcAft>
                  <a:spcPct val="15000"/>
                </a:spcAft>
              </a:pPr>
              <a:r>
                <a:rPr lang="en-US" sz="1765" dirty="0">
                  <a:solidFill>
                    <a:srgbClr val="0078D7"/>
                  </a:solidFill>
                  <a:latin typeface="Segoe UI"/>
                </a:rPr>
                <a:t>Transparent </a:t>
              </a:r>
            </a:p>
            <a:p>
              <a:pPr marL="457183" lvl="2" defTabSz="1045784">
                <a:lnSpc>
                  <a:spcPct val="150000"/>
                </a:lnSpc>
                <a:spcBef>
                  <a:spcPct val="0"/>
                </a:spcBef>
                <a:spcAft>
                  <a:spcPct val="15000"/>
                </a:spcAft>
              </a:pPr>
              <a:r>
                <a:rPr lang="en-US" sz="1176" cap="all" dirty="0">
                  <a:solidFill>
                    <a:srgbClr val="000000"/>
                  </a:solidFill>
                  <a:latin typeface="Segoe UI"/>
                </a:rPr>
                <a:t>Core and storage</a:t>
              </a:r>
            </a:p>
            <a:p>
              <a:pPr marL="0" lvl="1" defTabSz="1045784">
                <a:lnSpc>
                  <a:spcPct val="150000"/>
                </a:lnSpc>
                <a:spcBef>
                  <a:spcPct val="0"/>
                </a:spcBef>
                <a:spcAft>
                  <a:spcPct val="15000"/>
                </a:spcAft>
              </a:pPr>
              <a:r>
                <a:rPr lang="en-US" sz="1765" dirty="0">
                  <a:solidFill>
                    <a:srgbClr val="0078D7"/>
                  </a:solidFill>
                  <a:latin typeface="Segoe UI"/>
                </a:rPr>
                <a:t>Frictionless</a:t>
              </a:r>
            </a:p>
          </p:txBody>
        </p:sp>
      </p:grpSp>
      <p:sp>
        <p:nvSpPr>
          <p:cNvPr id="21" name="Freeform: Shape 20">
            <a:extLst>
              <a:ext uri="{FF2B5EF4-FFF2-40B4-BE49-F238E27FC236}">
                <a16:creationId xmlns:a16="http://schemas.microsoft.com/office/drawing/2014/main" id="{377C2CD8-3C53-49DA-8116-D6AF5B9D6005}"/>
              </a:ext>
            </a:extLst>
          </p:cNvPr>
          <p:cNvSpPr/>
          <p:nvPr/>
        </p:nvSpPr>
        <p:spPr>
          <a:xfrm>
            <a:off x="1853079" y="1427941"/>
            <a:ext cx="8122919" cy="165355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00BBF2"/>
          </a:solidFill>
          <a:ln>
            <a:solidFill>
              <a:srgbClr val="0078D7"/>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algn="ctr" defTabSz="871487">
              <a:lnSpc>
                <a:spcPct val="90000"/>
              </a:lnSpc>
              <a:spcBef>
                <a:spcPct val="0"/>
              </a:spcBef>
              <a:spcAft>
                <a:spcPct val="35000"/>
              </a:spcAft>
            </a:pPr>
            <a:endParaRPr lang="en-US" sz="1961" b="1" dirty="0">
              <a:solidFill>
                <a:srgbClr val="000000">
                  <a:hueOff val="0"/>
                  <a:satOff val="0"/>
                  <a:lumOff val="0"/>
                  <a:alphaOff val="0"/>
                </a:srgbClr>
              </a:solidFill>
              <a:latin typeface="Segoe UI"/>
            </a:endParaRPr>
          </a:p>
        </p:txBody>
      </p:sp>
      <p:sp>
        <p:nvSpPr>
          <p:cNvPr id="3" name="Flowchart: Manual Input 2">
            <a:extLst>
              <a:ext uri="{FF2B5EF4-FFF2-40B4-BE49-F238E27FC236}">
                <a16:creationId xmlns:a16="http://schemas.microsoft.com/office/drawing/2014/main" id="{11FF146D-2CEF-4E50-AC3D-14204EA68BD0}"/>
              </a:ext>
            </a:extLst>
          </p:cNvPr>
          <p:cNvSpPr/>
          <p:nvPr/>
        </p:nvSpPr>
        <p:spPr bwMode="auto">
          <a:xfrm rot="16200000" flipH="1">
            <a:off x="3629128" y="1209050"/>
            <a:ext cx="665316" cy="1429009"/>
          </a:xfrm>
          <a:prstGeom prst="flowChartManualInput">
            <a:avLst/>
          </a:prstGeom>
          <a:solidFill>
            <a:srgbClr val="66D6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Freeform: Shape 30">
            <a:extLst>
              <a:ext uri="{FF2B5EF4-FFF2-40B4-BE49-F238E27FC236}">
                <a16:creationId xmlns:a16="http://schemas.microsoft.com/office/drawing/2014/main" id="{EFF1B302-24FD-453D-BB86-8122F09EFF0A}"/>
              </a:ext>
            </a:extLst>
          </p:cNvPr>
          <p:cNvSpPr/>
          <p:nvPr/>
        </p:nvSpPr>
        <p:spPr>
          <a:xfrm>
            <a:off x="5009341" y="1590896"/>
            <a:ext cx="3738387" cy="665316"/>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defTabSz="871487">
              <a:lnSpc>
                <a:spcPct val="90000"/>
              </a:lnSpc>
              <a:spcBef>
                <a:spcPct val="0"/>
              </a:spcBef>
              <a:spcAft>
                <a:spcPct val="35000"/>
              </a:spcAft>
            </a:pPr>
            <a:r>
              <a:rPr lang="en-US" sz="1765" b="1" dirty="0">
                <a:solidFill>
                  <a:srgbClr val="FFFFFF"/>
                </a:solidFill>
                <a:latin typeface="Segoe UI" panose="020B0502040204020203" pitchFamily="34" charset="0"/>
                <a:cs typeface="Segoe UI" panose="020B0502040204020203" pitchFamily="34" charset="0"/>
              </a:rPr>
              <a:t>SQL Database </a:t>
            </a:r>
            <a:r>
              <a:rPr lang="en-US" sz="1765" dirty="0">
                <a:solidFill>
                  <a:srgbClr val="FFFFFF"/>
                </a:solidFill>
                <a:latin typeface="Segoe UI" panose="020B0502040204020203" pitchFamily="34" charset="0"/>
                <a:cs typeface="Segoe UI" panose="020B0502040204020203" pitchFamily="34" charset="0"/>
              </a:rPr>
              <a:t>(PaaS)</a:t>
            </a:r>
          </a:p>
        </p:txBody>
      </p:sp>
      <p:graphicFrame>
        <p:nvGraphicFramePr>
          <p:cNvPr id="34" name="Object 33">
            <a:extLst>
              <a:ext uri="{FF2B5EF4-FFF2-40B4-BE49-F238E27FC236}">
                <a16:creationId xmlns:a16="http://schemas.microsoft.com/office/drawing/2014/main" id="{653EA2F9-490A-4EAB-BD5C-5E63E3B50C5F}"/>
              </a:ext>
            </a:extLst>
          </p:cNvPr>
          <p:cNvGraphicFramePr>
            <a:graphicFrameLocks noChangeAspect="1"/>
          </p:cNvGraphicFramePr>
          <p:nvPr>
            <p:extLst/>
          </p:nvPr>
        </p:nvGraphicFramePr>
        <p:xfrm>
          <a:off x="3770470" y="1613957"/>
          <a:ext cx="466487" cy="601412"/>
        </p:xfrm>
        <a:graphic>
          <a:graphicData uri="http://schemas.openxmlformats.org/presentationml/2006/ole">
            <mc:AlternateContent xmlns:mc="http://schemas.openxmlformats.org/markup-compatibility/2006">
              <mc:Choice xmlns:v="urn:schemas-microsoft-com:vml" Requires="v">
                <p:oleObj spid="_x0000_s4198" name="CorelDRAW" r:id="rId4" imgW="160518" imgH="214312" progId="CorelDraw.Graphic.17">
                  <p:embed/>
                </p:oleObj>
              </mc:Choice>
              <mc:Fallback>
                <p:oleObj name="CorelDRAW" r:id="rId4" imgW="160518" imgH="214312" progId="CorelDraw.Graphic.17">
                  <p:embed/>
                  <p:pic>
                    <p:nvPicPr>
                      <p:cNvPr id="34" name="Object 33">
                        <a:extLst>
                          <a:ext uri="{FF2B5EF4-FFF2-40B4-BE49-F238E27FC236}">
                            <a16:creationId xmlns:a16="http://schemas.microsoft.com/office/drawing/2014/main" id="{653EA2F9-490A-4EAB-BD5C-5E63E3B50C5F}"/>
                          </a:ext>
                        </a:extLst>
                      </p:cNvPr>
                      <p:cNvPicPr/>
                      <p:nvPr/>
                    </p:nvPicPr>
                    <p:blipFill>
                      <a:blip r:embed="rId5"/>
                      <a:stretch>
                        <a:fillRect/>
                      </a:stretch>
                    </p:blipFill>
                    <p:spPr>
                      <a:xfrm>
                        <a:off x="3770470" y="1613957"/>
                        <a:ext cx="466487" cy="601412"/>
                      </a:xfrm>
                      <a:prstGeom prst="rect">
                        <a:avLst/>
                      </a:prstGeom>
                    </p:spPr>
                  </p:pic>
                </p:oleObj>
              </mc:Fallback>
            </mc:AlternateContent>
          </a:graphicData>
        </a:graphic>
      </p:graphicFrame>
      <p:grpSp>
        <p:nvGrpSpPr>
          <p:cNvPr id="54" name="Group 53">
            <a:extLst>
              <a:ext uri="{FF2B5EF4-FFF2-40B4-BE49-F238E27FC236}">
                <a16:creationId xmlns:a16="http://schemas.microsoft.com/office/drawing/2014/main" id="{231F6C02-27DD-4267-8430-32FAACF3B6E7}"/>
              </a:ext>
            </a:extLst>
          </p:cNvPr>
          <p:cNvGrpSpPr/>
          <p:nvPr/>
        </p:nvGrpSpPr>
        <p:grpSpPr>
          <a:xfrm>
            <a:off x="4046341" y="2350955"/>
            <a:ext cx="1761429" cy="626317"/>
            <a:chOff x="9231076" y="4542176"/>
            <a:chExt cx="1541399" cy="638876"/>
          </a:xfrm>
        </p:grpSpPr>
        <p:sp>
          <p:nvSpPr>
            <p:cNvPr id="55" name="Freeform: Shape 54">
              <a:extLst>
                <a:ext uri="{FF2B5EF4-FFF2-40B4-BE49-F238E27FC236}">
                  <a16:creationId xmlns:a16="http://schemas.microsoft.com/office/drawing/2014/main" id="{60705766-D494-40A8-910D-42F0A7A3172B}"/>
                </a:ext>
              </a:extLst>
            </p:cNvPr>
            <p:cNvSpPr/>
            <p:nvPr/>
          </p:nvSpPr>
          <p:spPr>
            <a:xfrm>
              <a:off x="9231076" y="4542176"/>
              <a:ext cx="1541399"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B9D712"/>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algn="ctr" defTabSz="871487">
                <a:lnSpc>
                  <a:spcPct val="90000"/>
                </a:lnSpc>
                <a:spcBef>
                  <a:spcPct val="0"/>
                </a:spcBef>
                <a:spcAft>
                  <a:spcPct val="35000"/>
                </a:spcAft>
              </a:pPr>
              <a:endParaRPr lang="en-US" sz="1961" b="1" dirty="0">
                <a:solidFill>
                  <a:srgbClr val="000000">
                    <a:hueOff val="0"/>
                    <a:satOff val="0"/>
                    <a:lumOff val="0"/>
                    <a:alphaOff val="0"/>
                  </a:srgbClr>
                </a:solidFill>
                <a:latin typeface="Segoe UI"/>
              </a:endParaRPr>
            </a:p>
          </p:txBody>
        </p:sp>
        <p:sp>
          <p:nvSpPr>
            <p:cNvPr id="56" name="Flowchart: Manual Input 55">
              <a:extLst>
                <a:ext uri="{FF2B5EF4-FFF2-40B4-BE49-F238E27FC236}">
                  <a16:creationId xmlns:a16="http://schemas.microsoft.com/office/drawing/2014/main" id="{B159995D-7582-47B7-829E-17F75FF5D803}"/>
                </a:ext>
              </a:extLst>
            </p:cNvPr>
            <p:cNvSpPr/>
            <p:nvPr/>
          </p:nvSpPr>
          <p:spPr bwMode="auto">
            <a:xfrm rot="16200000" flipH="1">
              <a:off x="9995838" y="4404415"/>
              <a:ext cx="638875" cy="914399"/>
            </a:xfrm>
            <a:prstGeom prst="flowChartManualInput">
              <a:avLst/>
            </a:prstGeom>
            <a:solidFill>
              <a:srgbClr val="D5E8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Freeform: Shape 56">
              <a:extLst>
                <a:ext uri="{FF2B5EF4-FFF2-40B4-BE49-F238E27FC236}">
                  <a16:creationId xmlns:a16="http://schemas.microsoft.com/office/drawing/2014/main" id="{CBE8E591-2C91-4940-81C1-52317CD122F3}"/>
                </a:ext>
              </a:extLst>
            </p:cNvPr>
            <p:cNvSpPr/>
            <p:nvPr/>
          </p:nvSpPr>
          <p:spPr>
            <a:xfrm>
              <a:off x="9936116" y="4542176"/>
              <a:ext cx="760159"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defTabSz="871487">
                <a:lnSpc>
                  <a:spcPct val="90000"/>
                </a:lnSpc>
                <a:spcBef>
                  <a:spcPct val="0"/>
                </a:spcBef>
                <a:spcAft>
                  <a:spcPct val="35000"/>
                </a:spcAft>
              </a:pPr>
              <a:r>
                <a:rPr lang="en-US" sz="1765" b="1" dirty="0">
                  <a:solidFill>
                    <a:srgbClr val="8AA10F"/>
                  </a:solidFill>
                  <a:latin typeface="Segoe UI" panose="020B0502040204020203" pitchFamily="34" charset="0"/>
                  <a:cs typeface="Segoe UI" panose="020B0502040204020203" pitchFamily="34" charset="0"/>
                </a:rPr>
                <a:t>Elastic Pool</a:t>
              </a:r>
            </a:p>
          </p:txBody>
        </p:sp>
        <p:graphicFrame>
          <p:nvGraphicFramePr>
            <p:cNvPr id="58" name="Object 57">
              <a:extLst>
                <a:ext uri="{FF2B5EF4-FFF2-40B4-BE49-F238E27FC236}">
                  <a16:creationId xmlns:a16="http://schemas.microsoft.com/office/drawing/2014/main" id="{3797D1F3-E88B-48A4-80B7-70678886768F}"/>
                </a:ext>
              </a:extLst>
            </p:cNvPr>
            <p:cNvGraphicFramePr>
              <a:graphicFrameLocks noChangeAspect="1"/>
            </p:cNvGraphicFramePr>
            <p:nvPr>
              <p:extLst/>
            </p:nvPr>
          </p:nvGraphicFramePr>
          <p:xfrm>
            <a:off x="9291716" y="4616716"/>
            <a:ext cx="489794" cy="489794"/>
          </p:xfrm>
          <a:graphic>
            <a:graphicData uri="http://schemas.openxmlformats.org/presentationml/2006/ole">
              <mc:AlternateContent xmlns:mc="http://schemas.openxmlformats.org/markup-compatibility/2006">
                <mc:Choice xmlns:v="urn:schemas-microsoft-com:vml" Requires="v">
                  <p:oleObj spid="_x0000_s4199" name="CorelDRAW" r:id="rId6" imgW="376175" imgH="375965" progId="CorelDraw.Graphic.17">
                    <p:embed/>
                  </p:oleObj>
                </mc:Choice>
                <mc:Fallback>
                  <p:oleObj name="CorelDRAW" r:id="rId6" imgW="376175" imgH="375965" progId="CorelDraw.Graphic.17">
                    <p:embed/>
                    <p:pic>
                      <p:nvPicPr>
                        <p:cNvPr id="58" name="Object 57">
                          <a:extLst>
                            <a:ext uri="{FF2B5EF4-FFF2-40B4-BE49-F238E27FC236}">
                              <a16:creationId xmlns:a16="http://schemas.microsoft.com/office/drawing/2014/main" id="{3797D1F3-E88B-48A4-80B7-70678886768F}"/>
                            </a:ext>
                          </a:extLst>
                        </p:cNvPr>
                        <p:cNvPicPr/>
                        <p:nvPr/>
                      </p:nvPicPr>
                      <p:blipFill>
                        <a:blip r:embed="rId7"/>
                        <a:stretch>
                          <a:fillRect/>
                        </a:stretch>
                      </p:blipFill>
                      <p:spPr>
                        <a:xfrm>
                          <a:off x="9291716" y="4616716"/>
                          <a:ext cx="489794" cy="489794"/>
                        </a:xfrm>
                        <a:prstGeom prst="rect">
                          <a:avLst/>
                        </a:prstGeom>
                      </p:spPr>
                    </p:pic>
                  </p:oleObj>
                </mc:Fallback>
              </mc:AlternateContent>
            </a:graphicData>
          </a:graphic>
        </p:graphicFrame>
      </p:grpSp>
      <p:grpSp>
        <p:nvGrpSpPr>
          <p:cNvPr id="59" name="Group 58">
            <a:extLst>
              <a:ext uri="{FF2B5EF4-FFF2-40B4-BE49-F238E27FC236}">
                <a16:creationId xmlns:a16="http://schemas.microsoft.com/office/drawing/2014/main" id="{46D3ED8D-1420-4C82-80E8-219F94DA76A3}"/>
              </a:ext>
            </a:extLst>
          </p:cNvPr>
          <p:cNvGrpSpPr/>
          <p:nvPr/>
        </p:nvGrpSpPr>
        <p:grpSpPr>
          <a:xfrm>
            <a:off x="6404201" y="2349495"/>
            <a:ext cx="2190598" cy="635419"/>
            <a:chOff x="8994588" y="5097462"/>
            <a:chExt cx="2234524" cy="648160"/>
          </a:xfrm>
        </p:grpSpPr>
        <p:grpSp>
          <p:nvGrpSpPr>
            <p:cNvPr id="60" name="Group 59">
              <a:extLst>
                <a:ext uri="{FF2B5EF4-FFF2-40B4-BE49-F238E27FC236}">
                  <a16:creationId xmlns:a16="http://schemas.microsoft.com/office/drawing/2014/main" id="{AEE0A10F-3764-4FFC-A2F5-8282BDAA962C}"/>
                </a:ext>
              </a:extLst>
            </p:cNvPr>
            <p:cNvGrpSpPr/>
            <p:nvPr/>
          </p:nvGrpSpPr>
          <p:grpSpPr>
            <a:xfrm>
              <a:off x="8994588" y="5097462"/>
              <a:ext cx="2234524" cy="648160"/>
              <a:chOff x="7329370" y="1151663"/>
              <a:chExt cx="2234524" cy="648160"/>
            </a:xfrm>
          </p:grpSpPr>
          <p:sp>
            <p:nvSpPr>
              <p:cNvPr id="62" name="Freeform: Shape 61">
                <a:extLst>
                  <a:ext uri="{FF2B5EF4-FFF2-40B4-BE49-F238E27FC236}">
                    <a16:creationId xmlns:a16="http://schemas.microsoft.com/office/drawing/2014/main" id="{9EB29745-F340-426A-A3C5-39E8A5D24ED3}"/>
                  </a:ext>
                </a:extLst>
              </p:cNvPr>
              <p:cNvSpPr/>
              <p:nvPr/>
            </p:nvSpPr>
            <p:spPr>
              <a:xfrm>
                <a:off x="7329370" y="1151663"/>
                <a:ext cx="2165468"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9A5095"/>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algn="ctr" defTabSz="871487">
                  <a:lnSpc>
                    <a:spcPct val="90000"/>
                  </a:lnSpc>
                  <a:spcBef>
                    <a:spcPct val="0"/>
                  </a:spcBef>
                  <a:spcAft>
                    <a:spcPct val="35000"/>
                  </a:spcAft>
                </a:pPr>
                <a:endParaRPr lang="en-US" sz="1961" b="1" dirty="0">
                  <a:solidFill>
                    <a:srgbClr val="000000">
                      <a:hueOff val="0"/>
                      <a:satOff val="0"/>
                      <a:lumOff val="0"/>
                      <a:alphaOff val="0"/>
                    </a:srgbClr>
                  </a:solidFill>
                  <a:latin typeface="Segoe UI"/>
                </a:endParaRPr>
              </a:p>
            </p:txBody>
          </p:sp>
          <p:sp>
            <p:nvSpPr>
              <p:cNvPr id="63" name="Flowchart: Manual Input 62">
                <a:extLst>
                  <a:ext uri="{FF2B5EF4-FFF2-40B4-BE49-F238E27FC236}">
                    <a16:creationId xmlns:a16="http://schemas.microsoft.com/office/drawing/2014/main" id="{E68017CE-3E61-41A9-91E2-289AAE222896}"/>
                  </a:ext>
                </a:extLst>
              </p:cNvPr>
              <p:cNvSpPr/>
              <p:nvPr/>
            </p:nvSpPr>
            <p:spPr bwMode="auto">
              <a:xfrm rot="16200000" flipH="1">
                <a:off x="8551151" y="846851"/>
                <a:ext cx="638875" cy="1248499"/>
              </a:xfrm>
              <a:prstGeom prst="flowChartManualInput">
                <a:avLst/>
              </a:prstGeom>
              <a:solidFill>
                <a:srgbClr val="A379A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Freeform: Shape 63">
                <a:extLst>
                  <a:ext uri="{FF2B5EF4-FFF2-40B4-BE49-F238E27FC236}">
                    <a16:creationId xmlns:a16="http://schemas.microsoft.com/office/drawing/2014/main" id="{931803B3-26A5-4558-923B-8C6D8F0F11BC}"/>
                  </a:ext>
                </a:extLst>
              </p:cNvPr>
              <p:cNvSpPr/>
              <p:nvPr/>
            </p:nvSpPr>
            <p:spPr>
              <a:xfrm>
                <a:off x="8103466" y="1160948"/>
                <a:ext cx="1460428"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defTabSz="871487">
                  <a:lnSpc>
                    <a:spcPct val="90000"/>
                  </a:lnSpc>
                  <a:spcBef>
                    <a:spcPct val="0"/>
                  </a:spcBef>
                  <a:spcAft>
                    <a:spcPct val="35000"/>
                  </a:spcAft>
                </a:pPr>
                <a:r>
                  <a:rPr lang="en-US" sz="1765" b="1" dirty="0">
                    <a:solidFill>
                      <a:srgbClr val="FFFFFF"/>
                    </a:solidFill>
                    <a:latin typeface="Segoe UI" panose="020B0502040204020203" pitchFamily="34" charset="0"/>
                    <a:cs typeface="Segoe UI" panose="020B0502040204020203" pitchFamily="34" charset="0"/>
                  </a:rPr>
                  <a:t>Managed Instance</a:t>
                </a:r>
              </a:p>
            </p:txBody>
          </p:sp>
        </p:grpSp>
        <p:graphicFrame>
          <p:nvGraphicFramePr>
            <p:cNvPr id="61" name="Object 60">
              <a:extLst>
                <a:ext uri="{FF2B5EF4-FFF2-40B4-BE49-F238E27FC236}">
                  <a16:creationId xmlns:a16="http://schemas.microsoft.com/office/drawing/2014/main" id="{2B289A2F-5045-4410-B7F4-97D821C5FDC7}"/>
                </a:ext>
              </a:extLst>
            </p:cNvPr>
            <p:cNvGraphicFramePr>
              <a:graphicFrameLocks noChangeAspect="1"/>
            </p:cNvGraphicFramePr>
            <p:nvPr>
              <p:extLst/>
            </p:nvPr>
          </p:nvGraphicFramePr>
          <p:xfrm>
            <a:off x="9063644" y="5136995"/>
            <a:ext cx="566928" cy="524815"/>
          </p:xfrm>
          <a:graphic>
            <a:graphicData uri="http://schemas.openxmlformats.org/presentationml/2006/ole">
              <mc:AlternateContent xmlns:mc="http://schemas.openxmlformats.org/markup-compatibility/2006">
                <mc:Choice xmlns:v="urn:schemas-microsoft-com:vml" Requires="v">
                  <p:oleObj spid="_x0000_s4200" name="CorelDRAW" r:id="rId8" imgW="277332" imgH="257583" progId="CorelDraw.Graphic.17">
                    <p:embed/>
                  </p:oleObj>
                </mc:Choice>
                <mc:Fallback>
                  <p:oleObj name="CorelDRAW" r:id="rId8" imgW="277332" imgH="257583" progId="CorelDraw.Graphic.17">
                    <p:embed/>
                    <p:pic>
                      <p:nvPicPr>
                        <p:cNvPr id="61" name="Object 60">
                          <a:extLst>
                            <a:ext uri="{FF2B5EF4-FFF2-40B4-BE49-F238E27FC236}">
                              <a16:creationId xmlns:a16="http://schemas.microsoft.com/office/drawing/2014/main" id="{2B289A2F-5045-4410-B7F4-97D821C5FDC7}"/>
                            </a:ext>
                          </a:extLst>
                        </p:cNvPr>
                        <p:cNvPicPr/>
                        <p:nvPr/>
                      </p:nvPicPr>
                      <p:blipFill>
                        <a:blip r:embed="rId9"/>
                        <a:stretch>
                          <a:fillRect/>
                        </a:stretch>
                      </p:blipFill>
                      <p:spPr>
                        <a:xfrm>
                          <a:off x="9063644" y="5136995"/>
                          <a:ext cx="566928" cy="524815"/>
                        </a:xfrm>
                        <a:prstGeom prst="rect">
                          <a:avLst/>
                        </a:prstGeom>
                      </p:spPr>
                    </p:pic>
                  </p:oleObj>
                </mc:Fallback>
              </mc:AlternateContent>
            </a:graphicData>
          </a:graphic>
        </p:graphicFrame>
      </p:grpSp>
      <p:grpSp>
        <p:nvGrpSpPr>
          <p:cNvPr id="71" name="Group 70">
            <a:extLst>
              <a:ext uri="{FF2B5EF4-FFF2-40B4-BE49-F238E27FC236}">
                <a16:creationId xmlns:a16="http://schemas.microsoft.com/office/drawing/2014/main" id="{C8793458-822B-4E11-BD4D-FA4AAD52CD2B}"/>
              </a:ext>
            </a:extLst>
          </p:cNvPr>
          <p:cNvGrpSpPr/>
          <p:nvPr/>
        </p:nvGrpSpPr>
        <p:grpSpPr>
          <a:xfrm>
            <a:off x="2165882" y="2350956"/>
            <a:ext cx="1812761" cy="626317"/>
            <a:chOff x="8482461" y="2568848"/>
            <a:chExt cx="1849111" cy="638876"/>
          </a:xfrm>
        </p:grpSpPr>
        <p:sp>
          <p:nvSpPr>
            <p:cNvPr id="66" name="Freeform: Shape 65">
              <a:extLst>
                <a:ext uri="{FF2B5EF4-FFF2-40B4-BE49-F238E27FC236}">
                  <a16:creationId xmlns:a16="http://schemas.microsoft.com/office/drawing/2014/main" id="{75409C29-D719-4847-9CF2-F95BB1697AC9}"/>
                </a:ext>
              </a:extLst>
            </p:cNvPr>
            <p:cNvSpPr/>
            <p:nvPr/>
          </p:nvSpPr>
          <p:spPr>
            <a:xfrm>
              <a:off x="8482461" y="2568848"/>
              <a:ext cx="1849111"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FFB800"/>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algn="ctr" defTabSz="871487">
                <a:lnSpc>
                  <a:spcPct val="90000"/>
                </a:lnSpc>
                <a:spcBef>
                  <a:spcPct val="0"/>
                </a:spcBef>
                <a:spcAft>
                  <a:spcPct val="35000"/>
                </a:spcAft>
              </a:pPr>
              <a:endParaRPr lang="en-US" sz="1961" b="1" dirty="0">
                <a:solidFill>
                  <a:srgbClr val="000000">
                    <a:hueOff val="0"/>
                    <a:satOff val="0"/>
                    <a:lumOff val="0"/>
                    <a:alphaOff val="0"/>
                  </a:srgbClr>
                </a:solidFill>
                <a:latin typeface="Segoe UI"/>
              </a:endParaRPr>
            </a:p>
          </p:txBody>
        </p:sp>
        <p:sp>
          <p:nvSpPr>
            <p:cNvPr id="67" name="Flowchart: Manual Input 66">
              <a:extLst>
                <a:ext uri="{FF2B5EF4-FFF2-40B4-BE49-F238E27FC236}">
                  <a16:creationId xmlns:a16="http://schemas.microsoft.com/office/drawing/2014/main" id="{6AC964BE-E6C8-472B-A9FE-2C3FE24BED10}"/>
                </a:ext>
              </a:extLst>
            </p:cNvPr>
            <p:cNvSpPr/>
            <p:nvPr/>
          </p:nvSpPr>
          <p:spPr bwMode="auto">
            <a:xfrm rot="16200000" flipH="1">
              <a:off x="9492206" y="2368359"/>
              <a:ext cx="638875" cy="1039856"/>
            </a:xfrm>
            <a:prstGeom prst="flowChartManualInput">
              <a:avLst/>
            </a:prstGeom>
            <a:solidFill>
              <a:srgbClr val="FDD0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Freeform: Shape 67">
              <a:extLst>
                <a:ext uri="{FF2B5EF4-FFF2-40B4-BE49-F238E27FC236}">
                  <a16:creationId xmlns:a16="http://schemas.microsoft.com/office/drawing/2014/main" id="{642BFE26-9677-4DF8-92F2-77B9F51D477F}"/>
                </a:ext>
              </a:extLst>
            </p:cNvPr>
            <p:cNvSpPr/>
            <p:nvPr/>
          </p:nvSpPr>
          <p:spPr>
            <a:xfrm>
              <a:off x="9187501" y="2568848"/>
              <a:ext cx="1121120"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defTabSz="871487">
                <a:lnSpc>
                  <a:spcPct val="90000"/>
                </a:lnSpc>
                <a:spcBef>
                  <a:spcPct val="0"/>
                </a:spcBef>
                <a:spcAft>
                  <a:spcPct val="35000"/>
                </a:spcAft>
              </a:pPr>
              <a:r>
                <a:rPr lang="en-US" sz="1765" b="1" dirty="0">
                  <a:solidFill>
                    <a:srgbClr val="BE6800"/>
                  </a:solidFill>
                  <a:latin typeface="Segoe UI" panose="020B0502040204020203" pitchFamily="34" charset="0"/>
                  <a:cs typeface="Segoe UI" panose="020B0502040204020203" pitchFamily="34" charset="0"/>
                </a:rPr>
                <a:t>Singleton</a:t>
              </a:r>
            </a:p>
          </p:txBody>
        </p:sp>
        <p:graphicFrame>
          <p:nvGraphicFramePr>
            <p:cNvPr id="70" name="Object 69">
              <a:extLst>
                <a:ext uri="{FF2B5EF4-FFF2-40B4-BE49-F238E27FC236}">
                  <a16:creationId xmlns:a16="http://schemas.microsoft.com/office/drawing/2014/main" id="{CDB5BBBE-D80C-4371-A202-B905E1DA70C5}"/>
                </a:ext>
              </a:extLst>
            </p:cNvPr>
            <p:cNvGraphicFramePr>
              <a:graphicFrameLocks noChangeAspect="1"/>
            </p:cNvGraphicFramePr>
            <p:nvPr>
              <p:extLst/>
            </p:nvPr>
          </p:nvGraphicFramePr>
          <p:xfrm>
            <a:off x="8629520" y="2607679"/>
            <a:ext cx="393156" cy="525503"/>
          </p:xfrm>
          <a:graphic>
            <a:graphicData uri="http://schemas.openxmlformats.org/presentationml/2006/ole">
              <mc:AlternateContent xmlns:mc="http://schemas.openxmlformats.org/markup-compatibility/2006">
                <mc:Choice xmlns:v="urn:schemas-microsoft-com:vml" Requires="v">
                  <p:oleObj spid="_x0000_s4201" name="CorelDRAW" r:id="rId10" imgW="160518" imgH="214312" progId="CorelDraw.Graphic.17">
                    <p:embed/>
                  </p:oleObj>
                </mc:Choice>
                <mc:Fallback>
                  <p:oleObj name="CorelDRAW" r:id="rId10" imgW="160518" imgH="214312" progId="CorelDraw.Graphic.17">
                    <p:embed/>
                    <p:pic>
                      <p:nvPicPr>
                        <p:cNvPr id="70" name="Object 69">
                          <a:extLst>
                            <a:ext uri="{FF2B5EF4-FFF2-40B4-BE49-F238E27FC236}">
                              <a16:creationId xmlns:a16="http://schemas.microsoft.com/office/drawing/2014/main" id="{CDB5BBBE-D80C-4371-A202-B905E1DA70C5}"/>
                            </a:ext>
                          </a:extLst>
                        </p:cNvPr>
                        <p:cNvPicPr/>
                        <p:nvPr/>
                      </p:nvPicPr>
                      <p:blipFill>
                        <a:blip r:embed="rId11"/>
                        <a:stretch>
                          <a:fillRect/>
                        </a:stretch>
                      </p:blipFill>
                      <p:spPr>
                        <a:xfrm>
                          <a:off x="8629520" y="2607679"/>
                          <a:ext cx="393156" cy="525503"/>
                        </a:xfrm>
                        <a:prstGeom prst="rect">
                          <a:avLst/>
                        </a:prstGeom>
                      </p:spPr>
                    </p:pic>
                  </p:oleObj>
                </mc:Fallback>
              </mc:AlternateContent>
            </a:graphicData>
          </a:graphic>
        </p:graphicFrame>
      </p:grpSp>
      <p:sp>
        <p:nvSpPr>
          <p:cNvPr id="4" name="Rectangle 3"/>
          <p:cNvSpPr/>
          <p:nvPr/>
        </p:nvSpPr>
        <p:spPr>
          <a:xfrm>
            <a:off x="941558" y="651009"/>
            <a:ext cx="9379124" cy="452590"/>
          </a:xfrm>
          <a:prstGeom prst="rect">
            <a:avLst/>
          </a:prstGeom>
        </p:spPr>
        <p:txBody>
          <a:bodyPr wrap="square">
            <a:spAutoFit/>
          </a:bodyPr>
          <a:lstStyle/>
          <a:p>
            <a:pPr defTabSz="914367"/>
            <a:r>
              <a:rPr lang="en-US" sz="2353" kern="0" spc="100" dirty="0">
                <a:solidFill>
                  <a:srgbClr val="FFFFFF"/>
                </a:solidFill>
                <a:latin typeface="Segoe UI Semibold" charset="0"/>
                <a:cs typeface="Segoe UI Semibold" charset="0"/>
              </a:rPr>
              <a:t>DBaaS designed to for all SQL Server applications</a:t>
            </a:r>
          </a:p>
        </p:txBody>
      </p:sp>
    </p:spTree>
    <p:extLst>
      <p:ext uri="{BB962C8B-B14F-4D97-AF65-F5344CB8AC3E}">
        <p14:creationId xmlns:p14="http://schemas.microsoft.com/office/powerpoint/2010/main" val="13825775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30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par>
                                <p:cTn id="8" presetID="10" presetClass="entr" presetSubtype="0" fill="hold" nodeType="withEffect">
                                  <p:stCondLst>
                                    <p:cond delay="300"/>
                                  </p:stCondLst>
                                  <p:childTnLst>
                                    <p:set>
                                      <p:cBhvr>
                                        <p:cTn id="9" dur="1" fill="hold">
                                          <p:stCondLst>
                                            <p:cond delay="0"/>
                                          </p:stCondLst>
                                        </p:cTn>
                                        <p:tgtEl>
                                          <p:spTgt spid="71"/>
                                        </p:tgtEl>
                                        <p:attrNameLst>
                                          <p:attrName>style.visibility</p:attrName>
                                        </p:attrNameLst>
                                      </p:cBhvr>
                                      <p:to>
                                        <p:strVal val="visible"/>
                                      </p:to>
                                    </p:set>
                                    <p:animEffect transition="in" filter="fade">
                                      <p:cBhvr>
                                        <p:cTn id="10" dur="500"/>
                                        <p:tgtEl>
                                          <p:spTgt spid="71"/>
                                        </p:tgtEl>
                                      </p:cBhvr>
                                    </p:animEffect>
                                  </p:childTnLst>
                                </p:cTn>
                              </p:par>
                              <p:par>
                                <p:cTn id="11" presetID="10" presetClass="entr" presetSubtype="0" fill="hold" nodeType="withEffect">
                                  <p:stCondLst>
                                    <p:cond delay="300"/>
                                  </p:stCondLst>
                                  <p:childTnLst>
                                    <p:set>
                                      <p:cBhvr>
                                        <p:cTn id="12" dur="1" fill="hold">
                                          <p:stCondLst>
                                            <p:cond delay="0"/>
                                          </p:stCondLst>
                                        </p:cTn>
                                        <p:tgtEl>
                                          <p:spTgt spid="54"/>
                                        </p:tgtEl>
                                        <p:attrNameLst>
                                          <p:attrName>style.visibility</p:attrName>
                                        </p:attrNameLst>
                                      </p:cBhvr>
                                      <p:to>
                                        <p:strVal val="visible"/>
                                      </p:to>
                                    </p:set>
                                    <p:animEffect transition="in" filter="fade">
                                      <p:cBhvr>
                                        <p:cTn id="13" dur="500"/>
                                        <p:tgtEl>
                                          <p:spTgt spid="54"/>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17"/>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wipe(up)">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ipe(up)">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36378" y="2198472"/>
            <a:ext cx="11653523" cy="1015663"/>
          </a:xfrm>
        </p:spPr>
        <p:txBody>
          <a:bodyPr/>
          <a:lstStyle/>
          <a:p>
            <a:r>
              <a:rPr lang="en-US" sz="6000" dirty="0">
                <a:latin typeface="Segoe UI Semibold" panose="020B0702040204020203" pitchFamily="34" charset="0"/>
                <a:cs typeface="Segoe UI Semibold" panose="020B0702040204020203" pitchFamily="34" charset="0"/>
              </a:rPr>
              <a:t>What can PaaS do for you?</a:t>
            </a:r>
          </a:p>
        </p:txBody>
      </p:sp>
    </p:spTree>
    <p:extLst>
      <p:ext uri="{BB962C8B-B14F-4D97-AF65-F5344CB8AC3E}">
        <p14:creationId xmlns:p14="http://schemas.microsoft.com/office/powerpoint/2010/main" val="335107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cap="all" spc="500" dirty="0">
                <a:solidFill>
                  <a:schemeClr val="tx1"/>
                </a:solidFill>
                <a:latin typeface="Segoe UI Semilight" charset="0"/>
                <a:cs typeface="Segoe UI Semilight" charset="0"/>
              </a:rPr>
              <a:t>How does PaaS help you?</a:t>
            </a:r>
          </a:p>
        </p:txBody>
      </p:sp>
      <p:graphicFrame>
        <p:nvGraphicFramePr>
          <p:cNvPr id="4" name="Table 3"/>
          <p:cNvGraphicFramePr>
            <a:graphicFrameLocks noGrp="1"/>
          </p:cNvGraphicFramePr>
          <p:nvPr>
            <p:extLst>
              <p:ext uri="{D42A27DB-BD31-4B8C-83A1-F6EECF244321}">
                <p14:modId xmlns:p14="http://schemas.microsoft.com/office/powerpoint/2010/main" val="3818186186"/>
              </p:ext>
            </p:extLst>
          </p:nvPr>
        </p:nvGraphicFramePr>
        <p:xfrm>
          <a:off x="493345" y="1486746"/>
          <a:ext cx="11205310" cy="4877298"/>
        </p:xfrm>
        <a:graphic>
          <a:graphicData uri="http://schemas.openxmlformats.org/drawingml/2006/table">
            <a:tbl>
              <a:tblPr firstRow="1" bandRow="1">
                <a:tableStyleId>{00A15C55-8517-42AA-B614-E9B94910E393}</a:tableStyleId>
              </a:tblPr>
              <a:tblGrid>
                <a:gridCol w="8740142">
                  <a:extLst>
                    <a:ext uri="{9D8B030D-6E8A-4147-A177-3AD203B41FA5}">
                      <a16:colId xmlns:a16="http://schemas.microsoft.com/office/drawing/2014/main" val="1690209004"/>
                    </a:ext>
                  </a:extLst>
                </a:gridCol>
                <a:gridCol w="2465168">
                  <a:extLst>
                    <a:ext uri="{9D8B030D-6E8A-4147-A177-3AD203B41FA5}">
                      <a16:colId xmlns:a16="http://schemas.microsoft.com/office/drawing/2014/main" val="3441464615"/>
                    </a:ext>
                  </a:extLst>
                </a:gridCol>
              </a:tblGrid>
              <a:tr h="363550">
                <a:tc>
                  <a:txBody>
                    <a:bodyPr/>
                    <a:lstStyle/>
                    <a:p>
                      <a:r>
                        <a:rPr lang="en-US" sz="1700" dirty="0"/>
                        <a:t>On-prem database management tasks</a:t>
                      </a:r>
                    </a:p>
                  </a:txBody>
                  <a:tcPr marL="89642" marR="89642" marT="44821" marB="44821"/>
                </a:tc>
                <a:tc>
                  <a:txBody>
                    <a:bodyPr/>
                    <a:lstStyle/>
                    <a:p>
                      <a:r>
                        <a:rPr lang="en-US" sz="1700" dirty="0"/>
                        <a:t>How</a:t>
                      </a:r>
                      <a:r>
                        <a:rPr lang="en-US" sz="1700" baseline="0" dirty="0"/>
                        <a:t> PaaS helps?</a:t>
                      </a:r>
                      <a:endParaRPr lang="en-US" sz="1700" dirty="0"/>
                    </a:p>
                  </a:txBody>
                  <a:tcPr marL="89642" marR="89642" marT="44821" marB="44821"/>
                </a:tc>
                <a:extLst>
                  <a:ext uri="{0D108BD9-81ED-4DB2-BD59-A6C34878D82A}">
                    <a16:rowId xmlns:a16="http://schemas.microsoft.com/office/drawing/2014/main" val="270054449"/>
                  </a:ext>
                </a:extLst>
              </a:tr>
              <a:tr h="617039">
                <a:tc>
                  <a:txBody>
                    <a:bodyPr/>
                    <a:lstStyle/>
                    <a:p>
                      <a:r>
                        <a:rPr lang="en-US" sz="1700" dirty="0"/>
                        <a:t>Data</a:t>
                      </a:r>
                      <a:r>
                        <a:rPr lang="en-US" sz="1700" baseline="0" dirty="0"/>
                        <a:t> protection</a:t>
                      </a:r>
                      <a:endParaRPr lang="en-US" sz="1700" dirty="0"/>
                    </a:p>
                    <a:p>
                      <a:pPr marL="752121" lvl="1" indent="-285750">
                        <a:buFont typeface="Arial" panose="020B0604020202020204" pitchFamily="34" charset="0"/>
                        <a:buChar char="•"/>
                      </a:pPr>
                      <a:r>
                        <a:rPr lang="en-US" sz="1700" dirty="0"/>
                        <a:t>Backups </a:t>
                      </a:r>
                      <a:r>
                        <a:rPr lang="en-US" sz="1700" baseline="0" dirty="0"/>
                        <a:t>(with health checks and retention)</a:t>
                      </a:r>
                    </a:p>
                  </a:txBody>
                  <a:tcPr marL="89642" marR="89642" marT="44821" marB="44821"/>
                </a:tc>
                <a:tc>
                  <a:txBody>
                    <a:bodyPr/>
                    <a:lstStyle/>
                    <a:p>
                      <a:r>
                        <a:rPr lang="en-US" sz="1700" dirty="0"/>
                        <a:t>Built-in</a:t>
                      </a:r>
                    </a:p>
                  </a:txBody>
                  <a:tcPr marL="89642" marR="89642" marT="44821" marB="44821"/>
                </a:tc>
                <a:extLst>
                  <a:ext uri="{0D108BD9-81ED-4DB2-BD59-A6C34878D82A}">
                    <a16:rowId xmlns:a16="http://schemas.microsoft.com/office/drawing/2014/main" val="2688854763"/>
                  </a:ext>
                </a:extLst>
              </a:tr>
              <a:tr h="1144436">
                <a:tc>
                  <a:txBody>
                    <a:bodyPr/>
                    <a:lstStyle/>
                    <a:p>
                      <a:r>
                        <a:rPr lang="en-US" sz="1700" dirty="0"/>
                        <a:t>High availability / disaster recovery implementation</a:t>
                      </a:r>
                    </a:p>
                    <a:p>
                      <a:pPr marL="752121" lvl="1" indent="-285750">
                        <a:buFont typeface="Arial" panose="020B0604020202020204" pitchFamily="34" charset="0"/>
                        <a:buChar char="•"/>
                      </a:pPr>
                      <a:r>
                        <a:rPr lang="en-US" sz="1700" dirty="0"/>
                        <a:t>Always On</a:t>
                      </a:r>
                    </a:p>
                    <a:p>
                      <a:pPr marL="752121" lvl="1" indent="-285750">
                        <a:buFont typeface="Arial" panose="020B0604020202020204" pitchFamily="34" charset="0"/>
                        <a:buChar char="•"/>
                      </a:pPr>
                      <a:r>
                        <a:rPr lang="en-US" sz="1700" dirty="0"/>
                        <a:t>Database Mirroring</a:t>
                      </a:r>
                    </a:p>
                    <a:p>
                      <a:pPr marL="752121" lvl="1" indent="-285750">
                        <a:buFont typeface="Arial" panose="020B0604020202020204" pitchFamily="34" charset="0"/>
                        <a:buChar char="•"/>
                      </a:pPr>
                      <a:r>
                        <a:rPr lang="en-US" sz="1700" dirty="0"/>
                        <a:t>Log shipping</a:t>
                      </a:r>
                    </a:p>
                  </a:txBody>
                  <a:tcPr marL="89642" marR="89642" marT="44821" marB="44821"/>
                </a:tc>
                <a:tc>
                  <a:txBody>
                    <a:bodyPr/>
                    <a:lstStyle/>
                    <a:p>
                      <a:r>
                        <a:rPr lang="en-US" sz="1700" dirty="0"/>
                        <a:t>Built-in</a:t>
                      </a:r>
                    </a:p>
                  </a:txBody>
                  <a:tcPr marL="89642" marR="89642" marT="44821" marB="44821"/>
                </a:tc>
                <a:extLst>
                  <a:ext uri="{0D108BD9-81ED-4DB2-BD59-A6C34878D82A}">
                    <a16:rowId xmlns:a16="http://schemas.microsoft.com/office/drawing/2014/main" val="4255915566"/>
                  </a:ext>
                </a:extLst>
              </a:tr>
              <a:tr h="363550">
                <a:tc>
                  <a:txBody>
                    <a:bodyPr/>
                    <a:lstStyle/>
                    <a:p>
                      <a:pPr marL="0" lvl="0" indent="0">
                        <a:buFont typeface="Arial" panose="020B0604020202020204" pitchFamily="34" charset="0"/>
                        <a:buNone/>
                      </a:pPr>
                      <a:r>
                        <a:rPr lang="en-US" sz="1700" dirty="0"/>
                        <a:t>Compliance with standards</a:t>
                      </a:r>
                    </a:p>
                  </a:txBody>
                  <a:tcPr marL="89642" marR="89642" marT="44821" marB="44821"/>
                </a:tc>
                <a:tc>
                  <a:txBody>
                    <a:bodyPr/>
                    <a:lstStyle/>
                    <a:p>
                      <a:r>
                        <a:rPr lang="en-US" sz="1700" dirty="0"/>
                        <a:t>Built-in</a:t>
                      </a:r>
                    </a:p>
                  </a:txBody>
                  <a:tcPr marL="89642" marR="89642" marT="44821" marB="44821"/>
                </a:tc>
                <a:extLst>
                  <a:ext uri="{0D108BD9-81ED-4DB2-BD59-A6C34878D82A}">
                    <a16:rowId xmlns:a16="http://schemas.microsoft.com/office/drawing/2014/main" val="1926842925"/>
                  </a:ext>
                </a:extLst>
              </a:tr>
              <a:tr h="1144436">
                <a:tc>
                  <a:txBody>
                    <a:bodyPr/>
                    <a:lstStyle/>
                    <a:p>
                      <a:pPr marL="0" lvl="0" indent="0">
                        <a:buFont typeface="Arial" panose="020B0604020202020204" pitchFamily="34" charset="0"/>
                        <a:buNone/>
                      </a:pPr>
                      <a:r>
                        <a:rPr lang="en-US" sz="1700" dirty="0"/>
                        <a:t>Security</a:t>
                      </a:r>
                      <a:endParaRPr lang="en-US" sz="1700" baseline="0" dirty="0"/>
                    </a:p>
                    <a:p>
                      <a:pPr marL="752121" lvl="1" indent="-285750">
                        <a:buFont typeface="Arial" panose="020B0604020202020204" pitchFamily="34" charset="0"/>
                        <a:buChar char="•"/>
                      </a:pPr>
                      <a:r>
                        <a:rPr lang="en-US" sz="1700" baseline="0" dirty="0"/>
                        <a:t>Data access</a:t>
                      </a:r>
                    </a:p>
                    <a:p>
                      <a:pPr marL="752121" lvl="1" indent="-285750">
                        <a:buFont typeface="Arial" panose="020B0604020202020204" pitchFamily="34" charset="0"/>
                        <a:buChar char="•"/>
                      </a:pPr>
                      <a:r>
                        <a:rPr lang="en-US" sz="1700" baseline="0" dirty="0"/>
                        <a:t>Defense in depth</a:t>
                      </a:r>
                    </a:p>
                    <a:p>
                      <a:pPr marL="752121" lvl="1" indent="-285750">
                        <a:buFont typeface="Arial" panose="020B0604020202020204" pitchFamily="34" charset="0"/>
                        <a:buChar char="•"/>
                      </a:pPr>
                      <a:r>
                        <a:rPr lang="en-US" sz="1700" baseline="0" dirty="0"/>
                        <a:t>Breach detection</a:t>
                      </a:r>
                    </a:p>
                  </a:txBody>
                  <a:tcPr marL="89642" marR="89642" marT="44821" marB="44821"/>
                </a:tc>
                <a:tc>
                  <a:txBody>
                    <a:bodyPr/>
                    <a:lstStyle/>
                    <a:p>
                      <a:r>
                        <a:rPr lang="en-US" sz="1700" dirty="0"/>
                        <a:t>Easy</a:t>
                      </a:r>
                      <a:r>
                        <a:rPr lang="en-US" sz="1700" baseline="0" dirty="0"/>
                        <a:t> to use tools</a:t>
                      </a:r>
                      <a:endParaRPr lang="en-US" sz="1700" dirty="0"/>
                    </a:p>
                  </a:txBody>
                  <a:tcPr marL="89642" marR="89642" marT="44821" marB="44821"/>
                </a:tc>
                <a:extLst>
                  <a:ext uri="{0D108BD9-81ED-4DB2-BD59-A6C34878D82A}">
                    <a16:rowId xmlns:a16="http://schemas.microsoft.com/office/drawing/2014/main" val="3424592129"/>
                  </a:ext>
                </a:extLst>
              </a:tr>
              <a:tr h="363550">
                <a:tc>
                  <a:txBody>
                    <a:bodyPr/>
                    <a:lstStyle/>
                    <a:p>
                      <a:pPr marL="0" lvl="0" indent="0">
                        <a:buFont typeface="Arial" panose="020B0604020202020204" pitchFamily="34" charset="0"/>
                        <a:buNone/>
                      </a:pPr>
                      <a:r>
                        <a:rPr lang="en-US" sz="1700" baseline="0" dirty="0"/>
                        <a:t>Monitoring</a:t>
                      </a:r>
                    </a:p>
                  </a:txBody>
                  <a:tcPr marL="89642" marR="89642" marT="44821" marB="44821"/>
                </a:tc>
                <a:tc>
                  <a:txBody>
                    <a:bodyPr/>
                    <a:lstStyle/>
                    <a:p>
                      <a:r>
                        <a:rPr lang="en-US" sz="1700" dirty="0"/>
                        <a:t>Easy to use tools</a:t>
                      </a:r>
                    </a:p>
                  </a:txBody>
                  <a:tcPr marL="89642" marR="89642" marT="44821" marB="44821"/>
                </a:tc>
                <a:extLst>
                  <a:ext uri="{0D108BD9-81ED-4DB2-BD59-A6C34878D82A}">
                    <a16:rowId xmlns:a16="http://schemas.microsoft.com/office/drawing/2014/main" val="569042410"/>
                  </a:ext>
                </a:extLst>
              </a:tr>
              <a:tr h="880737">
                <a:tc>
                  <a:txBody>
                    <a:bodyPr/>
                    <a:lstStyle/>
                    <a:p>
                      <a:pPr marL="0" lvl="0" indent="0">
                        <a:buFont typeface="Arial" panose="020B0604020202020204" pitchFamily="34" charset="0"/>
                        <a:buNone/>
                      </a:pPr>
                      <a:r>
                        <a:rPr lang="en-US" sz="1700" dirty="0"/>
                        <a:t>Performance</a:t>
                      </a:r>
                      <a:r>
                        <a:rPr lang="en-US" sz="1700" baseline="0" dirty="0"/>
                        <a:t> tuning and maintenance</a:t>
                      </a:r>
                      <a:endParaRPr lang="en-US" sz="1700" dirty="0"/>
                    </a:p>
                    <a:p>
                      <a:pPr marL="752121" lvl="1" indent="-285750">
                        <a:buFont typeface="Arial" panose="020B0604020202020204" pitchFamily="34" charset="0"/>
                        <a:buChar char="•"/>
                      </a:pPr>
                      <a:r>
                        <a:rPr lang="en-US" sz="1700" baseline="0" dirty="0"/>
                        <a:t>Query plan regressions – detection and prevention</a:t>
                      </a:r>
                      <a:endParaRPr lang="en-US" sz="1700" dirty="0"/>
                    </a:p>
                    <a:p>
                      <a:pPr marL="752121" lvl="1" indent="-285750">
                        <a:buFont typeface="Arial" panose="020B0604020202020204" pitchFamily="34" charset="0"/>
                        <a:buChar char="•"/>
                      </a:pPr>
                      <a:r>
                        <a:rPr lang="en-US" sz="1700" dirty="0"/>
                        <a:t>Index optimization</a:t>
                      </a:r>
                      <a:r>
                        <a:rPr lang="en-US" sz="1700" baseline="0" dirty="0"/>
                        <a:t> and maintenance</a:t>
                      </a:r>
                      <a:endParaRPr lang="en-US" sz="1700" dirty="0"/>
                    </a:p>
                  </a:txBody>
                  <a:tcPr marL="89642" marR="89642" marT="44821" marB="44821"/>
                </a:tc>
                <a:tc>
                  <a:txBody>
                    <a:bodyPr/>
                    <a:lstStyle/>
                    <a:p>
                      <a:r>
                        <a:rPr lang="en-US" sz="1700" dirty="0"/>
                        <a:t>Built-in</a:t>
                      </a:r>
                    </a:p>
                  </a:txBody>
                  <a:tcPr marL="89642" marR="89642" marT="44821" marB="44821"/>
                </a:tc>
                <a:extLst>
                  <a:ext uri="{0D108BD9-81ED-4DB2-BD59-A6C34878D82A}">
                    <a16:rowId xmlns:a16="http://schemas.microsoft.com/office/drawing/2014/main" val="3055770248"/>
                  </a:ext>
                </a:extLst>
              </a:tr>
            </a:tbl>
          </a:graphicData>
        </a:graphic>
      </p:graphicFrame>
    </p:spTree>
    <p:extLst>
      <p:ext uri="{BB962C8B-B14F-4D97-AF65-F5344CB8AC3E}">
        <p14:creationId xmlns:p14="http://schemas.microsoft.com/office/powerpoint/2010/main" val="3602043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cap="small" spc="500" dirty="0">
                <a:solidFill>
                  <a:schemeClr val="tx1"/>
                </a:solidFill>
                <a:latin typeface="Segoe UI Semilight" charset="0"/>
                <a:cs typeface="Segoe UI Semilight" charset="0"/>
              </a:rPr>
              <a:t>Managed Instance: Unmatched PaaS capabilities</a:t>
            </a:r>
          </a:p>
        </p:txBody>
      </p:sp>
      <p:sp>
        <p:nvSpPr>
          <p:cNvPr id="4" name="Text Placeholder 3"/>
          <p:cNvSpPr>
            <a:spLocks noGrp="1"/>
          </p:cNvSpPr>
          <p:nvPr>
            <p:ph type="body" sz="quarter" idx="10"/>
          </p:nvPr>
        </p:nvSpPr>
        <p:spPr>
          <a:xfrm>
            <a:off x="731408" y="1301683"/>
            <a:ext cx="9863705" cy="5176802"/>
          </a:xfrm>
        </p:spPr>
        <p:txBody>
          <a:bodyPr/>
          <a:lstStyle/>
          <a:p>
            <a:r>
              <a:rPr lang="en-US" sz="2800" dirty="0">
                <a:solidFill>
                  <a:schemeClr val="bg2"/>
                </a:solidFill>
                <a:latin typeface="+mn-lt"/>
                <a:cs typeface="+mn-cs"/>
              </a:rPr>
              <a:t>On-demand resources &amp; elasticity </a:t>
            </a:r>
          </a:p>
          <a:p>
            <a:pPr marL="224097" lvl="1"/>
            <a:r>
              <a:rPr lang="en-US" sz="2000" cap="small" dirty="0">
                <a:solidFill>
                  <a:schemeClr val="bg1"/>
                </a:solidFill>
                <a:latin typeface="+mn-lt"/>
                <a:cs typeface="+mn-cs"/>
              </a:rPr>
              <a:t>No need to provision for that monthly / yearly peak</a:t>
            </a:r>
          </a:p>
          <a:p>
            <a:r>
              <a:rPr lang="en-US" sz="2800" dirty="0">
                <a:solidFill>
                  <a:schemeClr val="bg2"/>
                </a:solidFill>
                <a:latin typeface="+mn-lt"/>
                <a:cs typeface="+mn-cs"/>
              </a:rPr>
              <a:t>Built-in high availability</a:t>
            </a:r>
          </a:p>
          <a:p>
            <a:pPr marL="224097" lvl="1"/>
            <a:r>
              <a:rPr lang="en-US" sz="2000" cap="small" dirty="0">
                <a:solidFill>
                  <a:schemeClr val="bg1"/>
                </a:solidFill>
                <a:latin typeface="+mn-lt"/>
                <a:cs typeface="+mn-cs"/>
              </a:rPr>
              <a:t>99.99% SLA with automatic failover</a:t>
            </a:r>
          </a:p>
          <a:p>
            <a:r>
              <a:rPr lang="en-US" sz="2800" dirty="0">
                <a:solidFill>
                  <a:schemeClr val="bg2"/>
                </a:solidFill>
                <a:latin typeface="+mn-lt"/>
                <a:cs typeface="+mn-cs"/>
              </a:rPr>
              <a:t>Business continuity</a:t>
            </a:r>
          </a:p>
          <a:p>
            <a:pPr marL="224097" lvl="1"/>
            <a:r>
              <a:rPr lang="en-US" sz="2000" cap="small" dirty="0">
                <a:solidFill>
                  <a:schemeClr val="bg1"/>
                </a:solidFill>
                <a:latin typeface="+mn-lt"/>
                <a:cs typeface="+mn-cs"/>
              </a:rPr>
              <a:t>Automatic backups, point-in-time restore, long term retention</a:t>
            </a:r>
          </a:p>
          <a:p>
            <a:pPr marL="224097" lvl="1"/>
            <a:r>
              <a:rPr lang="en-US" sz="2000" cap="small" dirty="0">
                <a:solidFill>
                  <a:schemeClr val="bg1"/>
                </a:solidFill>
                <a:latin typeface="+mn-lt"/>
                <a:cs typeface="+mn-cs"/>
              </a:rPr>
              <a:t>Backups kept in geo-redundant storage</a:t>
            </a:r>
          </a:p>
          <a:p>
            <a:pPr marL="224097" lvl="1"/>
            <a:r>
              <a:rPr lang="en-US" sz="2000" cap="small" dirty="0">
                <a:solidFill>
                  <a:schemeClr val="bg1"/>
                </a:solidFill>
                <a:latin typeface="+mn-lt"/>
                <a:cs typeface="+mn-cs"/>
              </a:rPr>
              <a:t>Active geo-replication (&lt;5 sec RPO)</a:t>
            </a:r>
          </a:p>
          <a:p>
            <a:r>
              <a:rPr lang="en-US" sz="2800" dirty="0">
                <a:solidFill>
                  <a:schemeClr val="bg2"/>
                </a:solidFill>
                <a:latin typeface="+mn-lt"/>
                <a:cs typeface="+mn-cs"/>
              </a:rPr>
              <a:t>Automatic patching / version updates</a:t>
            </a:r>
          </a:p>
          <a:p>
            <a:pPr marL="224097" lvl="1"/>
            <a:r>
              <a:rPr lang="en-US" sz="2000" cap="small" dirty="0">
                <a:solidFill>
                  <a:schemeClr val="bg1"/>
                </a:solidFill>
                <a:latin typeface="+mn-lt"/>
                <a:cs typeface="+mn-cs"/>
              </a:rPr>
              <a:t>The service guarantees availability and no regression in experience</a:t>
            </a:r>
          </a:p>
          <a:p>
            <a:r>
              <a:rPr lang="en-US" sz="2800" dirty="0">
                <a:solidFill>
                  <a:schemeClr val="bg2"/>
                </a:solidFill>
                <a:latin typeface="+mn-lt"/>
                <a:cs typeface="+mn-cs"/>
              </a:rPr>
              <a:t>Built-in intelligence</a:t>
            </a:r>
          </a:p>
          <a:p>
            <a:pPr marL="224097" lvl="1"/>
            <a:r>
              <a:rPr lang="en-US" sz="2000" cap="small" dirty="0">
                <a:solidFill>
                  <a:schemeClr val="bg1"/>
                </a:solidFill>
                <a:latin typeface="+mn-lt"/>
                <a:cs typeface="+mn-cs"/>
              </a:rPr>
              <a:t>Threat Detection</a:t>
            </a:r>
          </a:p>
          <a:p>
            <a:pPr marL="224097" lvl="1"/>
            <a:r>
              <a:rPr lang="en-US" sz="2000" cap="small" dirty="0">
                <a:solidFill>
                  <a:schemeClr val="bg1"/>
                </a:solidFill>
                <a:latin typeface="+mn-lt"/>
                <a:cs typeface="+mn-cs"/>
              </a:rPr>
              <a:t>Automatic performance tuning &amp; Intelligent Insights</a:t>
            </a:r>
          </a:p>
        </p:txBody>
      </p:sp>
    </p:spTree>
    <p:extLst>
      <p:ext uri="{BB962C8B-B14F-4D97-AF65-F5344CB8AC3E}">
        <p14:creationId xmlns:p14="http://schemas.microsoft.com/office/powerpoint/2010/main" val="4055345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cap="small" spc="500" dirty="0">
                <a:solidFill>
                  <a:schemeClr val="tx1"/>
                </a:solidFill>
                <a:latin typeface="Segoe UI Semilight" charset="0"/>
                <a:cs typeface="Segoe UI Semilight" charset="0"/>
              </a:rPr>
              <a:t>How to choose between PaaS and IaaS?</a:t>
            </a:r>
          </a:p>
        </p:txBody>
      </p:sp>
      <p:sp>
        <p:nvSpPr>
          <p:cNvPr id="4" name="Text Placeholder 3"/>
          <p:cNvSpPr>
            <a:spLocks noGrp="1"/>
          </p:cNvSpPr>
          <p:nvPr>
            <p:ph type="body" sz="quarter" idx="10"/>
          </p:nvPr>
        </p:nvSpPr>
        <p:spPr>
          <a:xfrm>
            <a:off x="947032" y="1570039"/>
            <a:ext cx="9863705" cy="4284250"/>
          </a:xfrm>
        </p:spPr>
        <p:txBody>
          <a:bodyPr/>
          <a:lstStyle/>
          <a:p>
            <a:r>
              <a:rPr lang="en-US" sz="3200" dirty="0">
                <a:solidFill>
                  <a:schemeClr val="bg2"/>
                </a:solidFill>
                <a:latin typeface="+mn-lt"/>
                <a:cs typeface="+mn-cs"/>
              </a:rPr>
              <a:t>If you:</a:t>
            </a:r>
          </a:p>
          <a:p>
            <a:pPr marL="784338" lvl="1" indent="-560241">
              <a:buFont typeface="Arial" panose="020B0604020202020204" pitchFamily="34" charset="0"/>
              <a:buChar char="•"/>
            </a:pPr>
            <a:r>
              <a:rPr lang="en-US" sz="2400" cap="small" dirty="0">
                <a:solidFill>
                  <a:schemeClr val="bg1"/>
                </a:solidFill>
                <a:latin typeface="+mn-lt"/>
                <a:cs typeface="+mn-cs"/>
              </a:rPr>
              <a:t>Need control over / access to the operating system</a:t>
            </a:r>
          </a:p>
          <a:p>
            <a:pPr marL="784338" lvl="1" indent="-560241">
              <a:buFont typeface="Arial" panose="020B0604020202020204" pitchFamily="34" charset="0"/>
              <a:buChar char="•"/>
            </a:pPr>
            <a:r>
              <a:rPr lang="en-US" sz="2400" cap="small" dirty="0">
                <a:solidFill>
                  <a:schemeClr val="bg1"/>
                </a:solidFill>
                <a:latin typeface="+mn-lt"/>
                <a:cs typeface="+mn-cs"/>
              </a:rPr>
              <a:t>Have to run your app or agents side-by-side with the database</a:t>
            </a:r>
          </a:p>
          <a:p>
            <a:pPr marL="784338" lvl="1" indent="-560241">
              <a:buFont typeface="Arial" panose="020B0604020202020204" pitchFamily="34" charset="0"/>
              <a:buChar char="•"/>
            </a:pPr>
            <a:r>
              <a:rPr lang="en-US" sz="2400" cap="small" dirty="0">
                <a:solidFill>
                  <a:schemeClr val="bg1"/>
                </a:solidFill>
                <a:latin typeface="+mn-lt"/>
                <a:cs typeface="+mn-cs"/>
              </a:rPr>
              <a:t>Want to continue to manage all aspects of your solution</a:t>
            </a:r>
          </a:p>
          <a:p>
            <a:r>
              <a:rPr lang="en-US" sz="3200" dirty="0">
                <a:solidFill>
                  <a:schemeClr val="bg2"/>
                </a:solidFill>
                <a:latin typeface="+mn-lt"/>
                <a:cs typeface="+mn-cs"/>
              </a:rPr>
              <a:t>…then IaaS is the right solution for you</a:t>
            </a:r>
          </a:p>
          <a:p>
            <a:endParaRPr lang="en-US" sz="3200" dirty="0">
              <a:solidFill>
                <a:schemeClr val="bg2"/>
              </a:solidFill>
              <a:latin typeface="+mn-lt"/>
              <a:cs typeface="+mn-cs"/>
            </a:endParaRPr>
          </a:p>
          <a:p>
            <a:r>
              <a:rPr lang="en-US" sz="3200" dirty="0">
                <a:solidFill>
                  <a:schemeClr val="bg2"/>
                </a:solidFill>
                <a:latin typeface="+mn-lt"/>
                <a:cs typeface="+mn-cs"/>
              </a:rPr>
              <a:t>Otherwise, we recommend PaaS</a:t>
            </a:r>
          </a:p>
          <a:p>
            <a:pPr marL="784338" lvl="1" indent="-560241">
              <a:buFont typeface="Arial" panose="020B0604020202020204" pitchFamily="34" charset="0"/>
              <a:buChar char="•"/>
            </a:pPr>
            <a:r>
              <a:rPr lang="en-US" sz="2400" cap="small" dirty="0">
                <a:solidFill>
                  <a:schemeClr val="bg1"/>
                </a:solidFill>
                <a:latin typeface="+mn-lt"/>
                <a:cs typeface="+mn-cs"/>
              </a:rPr>
              <a:t>Much better total cost of ownership</a:t>
            </a:r>
          </a:p>
          <a:p>
            <a:pPr marL="784338" lvl="1" indent="-560241">
              <a:buFont typeface="Arial" panose="020B0604020202020204" pitchFamily="34" charset="0"/>
              <a:buChar char="•"/>
            </a:pPr>
            <a:r>
              <a:rPr lang="en-US" sz="2400" cap="small" dirty="0">
                <a:solidFill>
                  <a:schemeClr val="bg1"/>
                </a:solidFill>
                <a:latin typeface="+mn-lt"/>
                <a:cs typeface="+mn-cs"/>
              </a:rPr>
              <a:t>You can focus on your business, and innovate</a:t>
            </a:r>
          </a:p>
        </p:txBody>
      </p:sp>
    </p:spTree>
    <p:extLst>
      <p:ext uri="{BB962C8B-B14F-4D97-AF65-F5344CB8AC3E}">
        <p14:creationId xmlns:p14="http://schemas.microsoft.com/office/powerpoint/2010/main" val="252393890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36378" y="2198472"/>
            <a:ext cx="11653523" cy="1015663"/>
          </a:xfrm>
        </p:spPr>
        <p:txBody>
          <a:bodyPr/>
          <a:lstStyle/>
          <a:p>
            <a:r>
              <a:rPr lang="en-US" sz="6000" dirty="0">
                <a:latin typeface="Segoe UI Semibold" panose="020B0702040204020203" pitchFamily="34" charset="0"/>
                <a:cs typeface="Segoe UI Semibold" panose="020B0702040204020203" pitchFamily="34" charset="0"/>
              </a:rPr>
              <a:t>Can you get to PaaS easily?</a:t>
            </a:r>
          </a:p>
        </p:txBody>
      </p:sp>
    </p:spTree>
    <p:extLst>
      <p:ext uri="{BB962C8B-B14F-4D97-AF65-F5344CB8AC3E}">
        <p14:creationId xmlns:p14="http://schemas.microsoft.com/office/powerpoint/2010/main" val="3322654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cap="small" spc="500" dirty="0">
                <a:solidFill>
                  <a:schemeClr val="tx1"/>
                </a:solidFill>
                <a:latin typeface="Segoe UI Semilight" charset="0"/>
                <a:cs typeface="Segoe UI Semilight" charset="0"/>
              </a:rPr>
              <a:t>Some apps don’t need Managed Instance</a:t>
            </a:r>
          </a:p>
        </p:txBody>
      </p:sp>
      <p:sp>
        <p:nvSpPr>
          <p:cNvPr id="4" name="Text Placeholder 3"/>
          <p:cNvSpPr>
            <a:spLocks noGrp="1"/>
          </p:cNvSpPr>
          <p:nvPr>
            <p:ph type="body" sz="quarter" idx="10"/>
          </p:nvPr>
        </p:nvSpPr>
        <p:spPr>
          <a:xfrm>
            <a:off x="521730" y="1373336"/>
            <a:ext cx="9863705" cy="2314480"/>
          </a:xfrm>
        </p:spPr>
        <p:txBody>
          <a:bodyPr/>
          <a:lstStyle/>
          <a:p>
            <a:r>
              <a:rPr lang="en-US" sz="3200" dirty="0">
                <a:solidFill>
                  <a:schemeClr val="bg2"/>
                </a:solidFill>
                <a:latin typeface="+mn-lt"/>
                <a:cs typeface="+mn-cs"/>
              </a:rPr>
              <a:t>You can migrate some apps w/o any changes, today</a:t>
            </a:r>
          </a:p>
          <a:p>
            <a:r>
              <a:rPr lang="en-US" sz="3200" dirty="0">
                <a:solidFill>
                  <a:schemeClr val="bg2"/>
                </a:solidFill>
                <a:latin typeface="+mn-lt"/>
                <a:cs typeface="+mn-cs"/>
              </a:rPr>
              <a:t>Starting migration now by</a:t>
            </a:r>
          </a:p>
          <a:p>
            <a:pPr marL="784338" lvl="1" indent="-560241">
              <a:buFont typeface="Arial" panose="020B0604020202020204" pitchFamily="34" charset="0"/>
              <a:buChar char="•"/>
            </a:pPr>
            <a:r>
              <a:rPr lang="en-US" sz="2400" cap="small" dirty="0">
                <a:solidFill>
                  <a:schemeClr val="bg1"/>
                </a:solidFill>
                <a:latin typeface="+mn-lt"/>
                <a:cs typeface="+mn-cs"/>
              </a:rPr>
              <a:t>Downloading and running Data Migration Assistant (DMA)</a:t>
            </a:r>
          </a:p>
          <a:p>
            <a:pPr marL="784338" lvl="1" indent="-560241">
              <a:buFont typeface="Arial" panose="020B0604020202020204" pitchFamily="34" charset="0"/>
              <a:buChar char="•"/>
            </a:pPr>
            <a:r>
              <a:rPr lang="en-US" sz="2400" cap="small" dirty="0">
                <a:solidFill>
                  <a:schemeClr val="bg1"/>
                </a:solidFill>
                <a:latin typeface="+mn-lt"/>
                <a:cs typeface="+mn-cs"/>
              </a:rPr>
              <a:t>Automated assessment will identify databases that are safe to move, w/o changes</a:t>
            </a:r>
          </a:p>
        </p:txBody>
      </p:sp>
      <p:pic>
        <p:nvPicPr>
          <p:cNvPr id="5" name="Picture 4">
            <a:extLst>
              <a:ext uri="{FF2B5EF4-FFF2-40B4-BE49-F238E27FC236}">
                <a16:creationId xmlns:a16="http://schemas.microsoft.com/office/drawing/2014/main" id="{1A5FCF3C-6037-4F65-B5C4-034EB1FCEC3C}"/>
              </a:ext>
            </a:extLst>
          </p:cNvPr>
          <p:cNvPicPr>
            <a:picLocks noChangeAspect="1"/>
          </p:cNvPicPr>
          <p:nvPr/>
        </p:nvPicPr>
        <p:blipFill>
          <a:blip r:embed="rId3"/>
          <a:stretch>
            <a:fillRect/>
          </a:stretch>
        </p:blipFill>
        <p:spPr>
          <a:xfrm>
            <a:off x="4876117" y="3516088"/>
            <a:ext cx="5293391" cy="3171791"/>
          </a:xfrm>
          <a:prstGeom prst="rect">
            <a:avLst/>
          </a:prstGeom>
        </p:spPr>
      </p:pic>
    </p:spTree>
    <p:extLst>
      <p:ext uri="{BB962C8B-B14F-4D97-AF65-F5344CB8AC3E}">
        <p14:creationId xmlns:p14="http://schemas.microsoft.com/office/powerpoint/2010/main" val="542768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119390"/>
            <a:ext cx="11655840" cy="899665"/>
          </a:xfrm>
        </p:spPr>
        <p:txBody>
          <a:bodyPr/>
          <a:lstStyle/>
          <a:p>
            <a:r>
              <a:rPr lang="en-US" sz="3200" b="1" cap="small" spc="500" dirty="0">
                <a:solidFill>
                  <a:srgbClr val="FFFF00"/>
                </a:solidFill>
                <a:latin typeface="Segoe UI Semilight" charset="0"/>
                <a:cs typeface="Segoe UI Semilight" charset="0"/>
              </a:rPr>
              <a:t>Managed Instance</a:t>
            </a:r>
            <a:r>
              <a:rPr lang="en-US" sz="3200" cap="small" spc="500" dirty="0">
                <a:solidFill>
                  <a:schemeClr val="tx1"/>
                </a:solidFill>
                <a:latin typeface="Segoe UI Semilight" charset="0"/>
                <a:cs typeface="Segoe UI Semilight" charset="0"/>
              </a:rPr>
              <a:t>: </a:t>
            </a:r>
            <a:r>
              <a:rPr lang="en-US" sz="3200" spc="500" dirty="0">
                <a:solidFill>
                  <a:schemeClr val="tx1"/>
                </a:solidFill>
                <a:latin typeface="Segoe UI Semilight" charset="0"/>
                <a:cs typeface="Segoe UI Semilight" charset="0"/>
              </a:rPr>
              <a:t>destination for even the most demanding applications</a:t>
            </a:r>
          </a:p>
        </p:txBody>
      </p:sp>
      <p:sp>
        <p:nvSpPr>
          <p:cNvPr id="4" name="Text Placeholder 3"/>
          <p:cNvSpPr>
            <a:spLocks noGrp="1"/>
          </p:cNvSpPr>
          <p:nvPr>
            <p:ph type="body" sz="quarter" idx="10"/>
          </p:nvPr>
        </p:nvSpPr>
        <p:spPr>
          <a:xfrm>
            <a:off x="947032" y="1570039"/>
            <a:ext cx="9863705" cy="4074962"/>
          </a:xfrm>
        </p:spPr>
        <p:txBody>
          <a:bodyPr/>
          <a:lstStyle/>
          <a:p>
            <a:r>
              <a:rPr lang="en-US" sz="3200" dirty="0">
                <a:solidFill>
                  <a:schemeClr val="bg2"/>
                </a:solidFill>
                <a:latin typeface="+mn-lt"/>
                <a:cs typeface="+mn-cs"/>
              </a:rPr>
              <a:t>Offers full security &amp; isolation</a:t>
            </a:r>
          </a:p>
          <a:p>
            <a:pPr marL="784338" lvl="1" indent="-560241">
              <a:buFont typeface="Arial" panose="020B0604020202020204" pitchFamily="34" charset="0"/>
              <a:buChar char="•"/>
            </a:pPr>
            <a:r>
              <a:rPr lang="en-US" sz="2400" cap="small" dirty="0">
                <a:solidFill>
                  <a:schemeClr val="bg1"/>
                </a:solidFill>
                <a:latin typeface="+mn-lt"/>
                <a:cs typeface="+mn-cs"/>
              </a:rPr>
              <a:t>VNET enables full isolation, without public IP addresses</a:t>
            </a:r>
          </a:p>
          <a:p>
            <a:pPr marL="784338" lvl="1" indent="-560241">
              <a:buFont typeface="Arial" panose="020B0604020202020204" pitchFamily="34" charset="0"/>
              <a:buChar char="•"/>
            </a:pPr>
            <a:r>
              <a:rPr lang="en-US" sz="2400" cap="small" dirty="0">
                <a:solidFill>
                  <a:schemeClr val="bg1"/>
                </a:solidFill>
                <a:latin typeface="+mn-lt"/>
                <a:cs typeface="+mn-cs"/>
              </a:rPr>
              <a:t>VPN can make it part of your enterprise network</a:t>
            </a:r>
          </a:p>
          <a:p>
            <a:r>
              <a:rPr lang="en-US" sz="3200" dirty="0">
                <a:solidFill>
                  <a:schemeClr val="bg2"/>
                </a:solidFill>
                <a:latin typeface="+mn-lt"/>
                <a:cs typeface="+mn-cs"/>
              </a:rPr>
              <a:t>Decreases cost and risk of migration</a:t>
            </a:r>
          </a:p>
          <a:p>
            <a:pPr marL="784338" lvl="1" indent="-560241">
              <a:buFont typeface="Arial" panose="020B0604020202020204" pitchFamily="34" charset="0"/>
              <a:buChar char="•"/>
            </a:pPr>
            <a:r>
              <a:rPr lang="en-US" sz="2400" cap="small" dirty="0">
                <a:solidFill>
                  <a:schemeClr val="bg1"/>
                </a:solidFill>
                <a:latin typeface="+mn-lt"/>
                <a:cs typeface="+mn-cs"/>
              </a:rPr>
              <a:t>Instance design increases compatibility with on-premise SQL Server</a:t>
            </a:r>
          </a:p>
          <a:p>
            <a:pPr marL="784338" lvl="1" indent="-560241">
              <a:buFont typeface="Arial" panose="020B0604020202020204" pitchFamily="34" charset="0"/>
              <a:buChar char="•"/>
            </a:pPr>
            <a:r>
              <a:rPr lang="en-US" sz="2400" cap="small" dirty="0">
                <a:solidFill>
                  <a:schemeClr val="bg1"/>
                </a:solidFill>
                <a:latin typeface="+mn-lt"/>
                <a:cs typeface="+mn-cs"/>
              </a:rPr>
              <a:t>Database Migration Service further simplifies and automates migration</a:t>
            </a:r>
          </a:p>
          <a:p>
            <a:r>
              <a:rPr lang="en-US" sz="3200" dirty="0">
                <a:solidFill>
                  <a:schemeClr val="bg2"/>
                </a:solidFill>
                <a:latin typeface="+mn-lt"/>
                <a:cs typeface="+mn-cs"/>
              </a:rPr>
              <a:t>Offers new business model and pricing</a:t>
            </a:r>
          </a:p>
          <a:p>
            <a:pPr marL="784338" lvl="1" indent="-560241">
              <a:buFont typeface="Arial" panose="020B0604020202020204" pitchFamily="34" charset="0"/>
              <a:buChar char="•"/>
            </a:pPr>
            <a:r>
              <a:rPr lang="en-US" sz="2400" cap="small" dirty="0">
                <a:solidFill>
                  <a:schemeClr val="bg1"/>
                </a:solidFill>
                <a:latin typeface="+mn-lt"/>
                <a:cs typeface="+mn-cs"/>
              </a:rPr>
              <a:t>Ability to use on-premise </a:t>
            </a:r>
            <a:r>
              <a:rPr lang="en-US" sz="2400" cap="small" dirty="0" err="1">
                <a:solidFill>
                  <a:schemeClr val="bg1"/>
                </a:solidFill>
                <a:latin typeface="+mn-lt"/>
                <a:cs typeface="+mn-cs"/>
              </a:rPr>
              <a:t>sql</a:t>
            </a:r>
            <a:r>
              <a:rPr lang="en-US" sz="2400" cap="small" dirty="0">
                <a:solidFill>
                  <a:schemeClr val="bg1"/>
                </a:solidFill>
                <a:latin typeface="+mn-lt"/>
                <a:cs typeface="+mn-cs"/>
              </a:rPr>
              <a:t> server licenses</a:t>
            </a:r>
          </a:p>
        </p:txBody>
      </p:sp>
    </p:spTree>
    <p:extLst>
      <p:ext uri="{BB962C8B-B14F-4D97-AF65-F5344CB8AC3E}">
        <p14:creationId xmlns:p14="http://schemas.microsoft.com/office/powerpoint/2010/main" val="206863171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ectangle 79"/>
          <p:cNvSpPr/>
          <p:nvPr/>
        </p:nvSpPr>
        <p:spPr>
          <a:xfrm>
            <a:off x="5266598" y="487"/>
            <a:ext cx="6924537" cy="68570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srgbClr val="FFFFFF"/>
              </a:solidFill>
              <a:latin typeface="Segoe UI"/>
            </a:endParaRPr>
          </a:p>
        </p:txBody>
      </p:sp>
      <p:sp>
        <p:nvSpPr>
          <p:cNvPr id="104" name="Title 5"/>
          <p:cNvSpPr>
            <a:spLocks noGrp="1"/>
          </p:cNvSpPr>
          <p:nvPr>
            <p:ph type="title"/>
          </p:nvPr>
        </p:nvSpPr>
        <p:spPr>
          <a:xfrm>
            <a:off x="270067" y="2584650"/>
            <a:ext cx="4321358" cy="899537"/>
          </a:xfrm>
        </p:spPr>
        <p:txBody>
          <a:bodyPr>
            <a:noAutofit/>
          </a:bodyPr>
          <a:lstStyle/>
          <a:p>
            <a:pPr>
              <a:lnSpc>
                <a:spcPct val="100000"/>
              </a:lnSpc>
              <a:spcBef>
                <a:spcPts val="3000"/>
              </a:spcBef>
              <a:spcAft>
                <a:spcPts val="1200"/>
              </a:spcAft>
            </a:pPr>
            <a:r>
              <a:rPr lang="en-US" sz="2800" spc="500" dirty="0"/>
              <a:t>Microsoft </a:t>
            </a:r>
            <a:br>
              <a:rPr lang="en-US" sz="2800" spc="500" dirty="0"/>
            </a:br>
            <a:r>
              <a:rPr lang="en-US" sz="2800" spc="500" dirty="0"/>
              <a:t>Data Platform</a:t>
            </a:r>
            <a:br>
              <a:rPr lang="en-US" sz="2800" spc="500" dirty="0"/>
            </a:br>
            <a:endParaRPr lang="en-US" sz="2000" b="1" spc="100" dirty="0">
              <a:latin typeface="Segoe UI Semibold" charset="0"/>
              <a:ea typeface="Segoe UI Semibold" charset="0"/>
              <a:cs typeface="Segoe UI Semibold" charset="0"/>
            </a:endParaRPr>
          </a:p>
        </p:txBody>
      </p:sp>
      <p:sp>
        <p:nvSpPr>
          <p:cNvPr id="81" name="Title 5"/>
          <p:cNvSpPr txBox="1">
            <a:spLocks/>
          </p:cNvSpPr>
          <p:nvPr/>
        </p:nvSpPr>
        <p:spPr>
          <a:xfrm>
            <a:off x="293431" y="3605568"/>
            <a:ext cx="4927917" cy="892049"/>
          </a:xfrm>
          <a:prstGeom prst="rect">
            <a:avLst/>
          </a:prstGeom>
        </p:spPr>
        <p:txBody>
          <a:bodyPr vert="horz" lIns="91427" tIns="45713" rIns="91427" bIns="45713"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pPr defTabSz="914225">
              <a:spcBef>
                <a:spcPts val="3000"/>
              </a:spcBef>
              <a:spcAft>
                <a:spcPts val="1200"/>
              </a:spcAft>
            </a:pPr>
            <a:r>
              <a:rPr lang="en-US" sz="1600" b="1" spc="100" dirty="0">
                <a:solidFill>
                  <a:srgbClr val="0078D7"/>
                </a:solidFill>
                <a:latin typeface="Segoe UI Semibold" charset="0"/>
                <a:ea typeface="Segoe UI Semibold" charset="0"/>
                <a:cs typeface="Segoe UI Semibold" charset="0"/>
              </a:rPr>
              <a:t>Consistent data platform for </a:t>
            </a:r>
            <a:br>
              <a:rPr lang="en-US" sz="1600" b="1" spc="100" dirty="0">
                <a:solidFill>
                  <a:srgbClr val="0078D7"/>
                </a:solidFill>
                <a:latin typeface="Segoe UI Semibold" charset="0"/>
                <a:ea typeface="Segoe UI Semibold" charset="0"/>
                <a:cs typeface="Segoe UI Semibold" charset="0"/>
              </a:rPr>
            </a:br>
            <a:r>
              <a:rPr lang="en-US" sz="1600" b="1" spc="100" dirty="0">
                <a:solidFill>
                  <a:srgbClr val="0078D7"/>
                </a:solidFill>
                <a:latin typeface="Segoe UI Semibold" charset="0"/>
                <a:ea typeface="Segoe UI Semibold" charset="0"/>
                <a:cs typeface="Segoe UI Semibold" charset="0"/>
              </a:rPr>
              <a:t>powerful hybrid scenarios</a:t>
            </a:r>
            <a:br>
              <a:rPr lang="en-US" sz="1600" b="1" spc="100" dirty="0">
                <a:solidFill>
                  <a:srgbClr val="0078D7"/>
                </a:solidFill>
                <a:latin typeface="Segoe UI Semibold" charset="0"/>
                <a:ea typeface="Segoe UI Semibold" charset="0"/>
                <a:cs typeface="Segoe UI Semibold" charset="0"/>
              </a:rPr>
            </a:br>
            <a:endParaRPr lang="en-US" sz="1600" b="1" spc="100" dirty="0">
              <a:solidFill>
                <a:srgbClr val="0078D7"/>
              </a:solidFill>
              <a:latin typeface="Segoe UI Semibold" charset="0"/>
              <a:ea typeface="Segoe UI Semibold" charset="0"/>
              <a:cs typeface="Segoe UI Semibold" charset="0"/>
            </a:endParaRPr>
          </a:p>
        </p:txBody>
      </p:sp>
      <p:grpSp>
        <p:nvGrpSpPr>
          <p:cNvPr id="3" name="Group 2"/>
          <p:cNvGrpSpPr/>
          <p:nvPr/>
        </p:nvGrpSpPr>
        <p:grpSpPr>
          <a:xfrm>
            <a:off x="5921952" y="1053678"/>
            <a:ext cx="5680290" cy="4966356"/>
            <a:chOff x="5165348" y="696111"/>
            <a:chExt cx="6496558" cy="5680032"/>
          </a:xfrm>
        </p:grpSpPr>
        <p:sp>
          <p:nvSpPr>
            <p:cNvPr id="105" name="Oval 104"/>
            <p:cNvSpPr/>
            <p:nvPr/>
          </p:nvSpPr>
          <p:spPr>
            <a:xfrm>
              <a:off x="5850907" y="971309"/>
              <a:ext cx="4885642" cy="4885642"/>
            </a:xfrm>
            <a:prstGeom prst="ellipse">
              <a:avLst/>
            </a:prstGeom>
            <a:noFill/>
            <a:ln w="2540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grpSp>
          <p:nvGrpSpPr>
            <p:cNvPr id="178" name="Group 177"/>
            <p:cNvGrpSpPr/>
            <p:nvPr/>
          </p:nvGrpSpPr>
          <p:grpSpPr>
            <a:xfrm rot="21438796">
              <a:off x="5954195" y="696111"/>
              <a:ext cx="4681844" cy="5680032"/>
              <a:chOff x="5773116" y="946870"/>
              <a:chExt cx="4681844" cy="5680032"/>
            </a:xfrm>
          </p:grpSpPr>
          <p:sp>
            <p:nvSpPr>
              <p:cNvPr id="179" name="TextBox 178"/>
              <p:cNvSpPr txBox="1"/>
              <p:nvPr/>
            </p:nvSpPr>
            <p:spPr>
              <a:xfrm rot="60000">
                <a:off x="6279718" y="946870"/>
                <a:ext cx="3725057" cy="1998365"/>
              </a:xfrm>
              <a:prstGeom prst="rect">
                <a:avLst/>
              </a:prstGeom>
              <a:noFill/>
            </p:spPr>
            <p:txBody>
              <a:bodyPr spcFirstLastPara="1" wrap="square" lIns="91427" tIns="45713" rIns="91427" bIns="45713" numCol="1" rtlCol="0">
                <a:prstTxWarp prst="textArchUp">
                  <a:avLst>
                    <a:gd name="adj" fmla="val 11234093"/>
                  </a:avLst>
                </a:prstTxWarp>
                <a:spAutoFit/>
              </a:bodyPr>
              <a:lstStyle/>
              <a:p>
                <a:pPr algn="ctr" defTabSz="932563">
                  <a:lnSpc>
                    <a:spcPct val="90000"/>
                  </a:lnSpc>
                  <a:spcAft>
                    <a:spcPts val="600"/>
                  </a:spcAft>
                  <a:defRPr/>
                </a:pPr>
                <a:r>
                  <a:rPr lang="en-US" sz="2000" kern="0" spc="200" dirty="0">
                    <a:solidFill>
                      <a:srgbClr val="FFFFFF"/>
                    </a:solidFill>
                    <a:latin typeface="Segoe UI Semilight" panose="020B0402040204020203" pitchFamily="34" charset="0"/>
                    <a:cs typeface="Segoe UI Semilight" panose="020B0402040204020203" pitchFamily="34" charset="0"/>
                  </a:rPr>
                  <a:t>Most consistent experience</a:t>
                </a:r>
              </a:p>
            </p:txBody>
          </p:sp>
          <p:sp>
            <p:nvSpPr>
              <p:cNvPr id="180" name="TextBox 179"/>
              <p:cNvSpPr txBox="1"/>
              <p:nvPr/>
            </p:nvSpPr>
            <p:spPr>
              <a:xfrm rot="60000">
                <a:off x="5773116" y="3356909"/>
                <a:ext cx="4681844" cy="3269993"/>
              </a:xfrm>
              <a:prstGeom prst="rect">
                <a:avLst/>
              </a:prstGeom>
              <a:noFill/>
            </p:spPr>
            <p:txBody>
              <a:bodyPr spcFirstLastPara="1" wrap="square" lIns="91427" tIns="45713" rIns="91427" bIns="45713" numCol="1" rtlCol="0">
                <a:prstTxWarp prst="textArchDown">
                  <a:avLst>
                    <a:gd name="adj" fmla="val 146284"/>
                  </a:avLst>
                </a:prstTxWarp>
                <a:spAutoFit/>
              </a:bodyPr>
              <a:lstStyle/>
              <a:p>
                <a:pPr algn="ctr" defTabSz="932563">
                  <a:lnSpc>
                    <a:spcPct val="90000"/>
                  </a:lnSpc>
                  <a:spcAft>
                    <a:spcPts val="600"/>
                  </a:spcAft>
                  <a:defRPr/>
                </a:pPr>
                <a:r>
                  <a:rPr lang="en-US" sz="2000" kern="0" spc="200" dirty="0">
                    <a:solidFill>
                      <a:srgbClr val="FFFFFF"/>
                    </a:solidFill>
                    <a:latin typeface="Segoe UI Semilight" panose="020B0402040204020203" pitchFamily="34" charset="0"/>
                    <a:cs typeface="Segoe UI Semilight" panose="020B0402040204020203" pitchFamily="34" charset="0"/>
                  </a:rPr>
                  <a:t>across on-premises and cloud</a:t>
                </a:r>
              </a:p>
            </p:txBody>
          </p:sp>
        </p:grpSp>
        <p:sp>
          <p:nvSpPr>
            <p:cNvPr id="2" name="Rectangle 1"/>
            <p:cNvSpPr/>
            <p:nvPr/>
          </p:nvSpPr>
          <p:spPr>
            <a:xfrm rot="20256403">
              <a:off x="10054818" y="1617216"/>
              <a:ext cx="803563" cy="17978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srgbClr val="FFFFFF"/>
                </a:solidFill>
                <a:latin typeface="Segoe UI"/>
              </a:endParaRPr>
            </a:p>
          </p:txBody>
        </p:sp>
        <p:sp>
          <p:nvSpPr>
            <p:cNvPr id="177" name="Freeform 176"/>
            <p:cNvSpPr>
              <a:spLocks noChangeAspect="1"/>
            </p:cNvSpPr>
            <p:nvPr/>
          </p:nvSpPr>
          <p:spPr bwMode="auto">
            <a:xfrm flipH="1">
              <a:off x="9359936" y="1730176"/>
              <a:ext cx="2301970" cy="145785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rgbClr val="0078D7"/>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IN" sz="2000" b="1" kern="0" dirty="0">
                <a:solidFill>
                  <a:srgbClr val="FFFFFF"/>
                </a:solidFill>
                <a:latin typeface="Segoe UI Light"/>
                <a:ea typeface="Segoe UI" pitchFamily="34" charset="0"/>
                <a:cs typeface="Segoe UI" pitchFamily="34" charset="0"/>
              </a:endParaRPr>
            </a:p>
          </p:txBody>
        </p:sp>
        <p:sp>
          <p:nvSpPr>
            <p:cNvPr id="83" name="Rectangle 82"/>
            <p:cNvSpPr/>
            <p:nvPr/>
          </p:nvSpPr>
          <p:spPr>
            <a:xfrm rot="20155169">
              <a:off x="5723529" y="3402659"/>
              <a:ext cx="803563" cy="17641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srgbClr val="FFFFFF"/>
                </a:solidFill>
                <a:latin typeface="Segoe UI"/>
              </a:endParaRPr>
            </a:p>
          </p:txBody>
        </p:sp>
        <p:sp>
          <p:nvSpPr>
            <p:cNvPr id="79" name="building_7">
              <a:extLst>
                <a:ext uri="{FF2B5EF4-FFF2-40B4-BE49-F238E27FC236}">
                  <a16:creationId xmlns:a16="http://schemas.microsoft.com/office/drawing/2014/main" id="{968144CD-445D-4231-9304-625F8EE407FE}"/>
                </a:ext>
              </a:extLst>
            </p:cNvPr>
            <p:cNvSpPr>
              <a:spLocks noChangeAspect="1" noEditPoints="1"/>
            </p:cNvSpPr>
            <p:nvPr/>
          </p:nvSpPr>
          <p:spPr bwMode="auto">
            <a:xfrm>
              <a:off x="5165348" y="3402726"/>
              <a:ext cx="1522351" cy="1588255"/>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gradFill>
                  <a:gsLst>
                    <a:gs pos="0">
                      <a:srgbClr val="505050"/>
                    </a:gs>
                    <a:gs pos="100000">
                      <a:srgbClr val="505050"/>
                    </a:gs>
                  </a:gsLst>
                </a:gradFill>
                <a:latin typeface="Segoe UI"/>
              </a:endParaRPr>
            </a:p>
          </p:txBody>
        </p:sp>
      </p:grpSp>
    </p:spTree>
    <p:extLst>
      <p:ext uri="{BB962C8B-B14F-4D97-AF65-F5344CB8AC3E}">
        <p14:creationId xmlns:p14="http://schemas.microsoft.com/office/powerpoint/2010/main" val="17085070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2972" y="167803"/>
            <a:ext cx="11655840" cy="899537"/>
          </a:xfrm>
        </p:spPr>
        <p:txBody>
          <a:bodyPr/>
          <a:lstStyle/>
          <a:p>
            <a:r>
              <a:rPr lang="en-US" sz="3137" cap="all" spc="500" dirty="0">
                <a:solidFill>
                  <a:schemeClr val="bg1"/>
                </a:solidFill>
                <a:latin typeface="Segoe UI Semilight" charset="0"/>
                <a:cs typeface="Segoe UI Semilight" charset="0"/>
              </a:rPr>
              <a:t>Full security &amp; isolation</a:t>
            </a:r>
          </a:p>
        </p:txBody>
      </p:sp>
      <p:sp>
        <p:nvSpPr>
          <p:cNvPr id="4" name="Rectangle 3">
            <a:extLst/>
          </p:cNvPr>
          <p:cNvSpPr/>
          <p:nvPr/>
        </p:nvSpPr>
        <p:spPr bwMode="auto">
          <a:xfrm>
            <a:off x="553246" y="1896288"/>
            <a:ext cx="4168375" cy="3213861"/>
          </a:xfrm>
          <a:prstGeom prst="rect">
            <a:avLst/>
          </a:prstGeom>
          <a:solidFill>
            <a:srgbClr val="CBECDA"/>
          </a:solidFill>
          <a:ln w="19050">
            <a:solidFill>
              <a:srgbClr val="66C49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Rectangle 4">
            <a:extLst/>
          </p:cNvPr>
          <p:cNvSpPr/>
          <p:nvPr/>
        </p:nvSpPr>
        <p:spPr bwMode="auto">
          <a:xfrm>
            <a:off x="823275" y="2167917"/>
            <a:ext cx="3628318" cy="2645025"/>
          </a:xfrm>
          <a:prstGeom prst="rect">
            <a:avLst/>
          </a:prstGeom>
          <a:solidFill>
            <a:srgbClr val="E1D2E4"/>
          </a:solidFill>
          <a:ln w="19050">
            <a:solidFill>
              <a:srgbClr val="A379A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Callout: Line with Accent Bar 5">
            <a:extLst/>
          </p:cNvPr>
          <p:cNvSpPr/>
          <p:nvPr/>
        </p:nvSpPr>
        <p:spPr bwMode="auto">
          <a:xfrm rot="5400000">
            <a:off x="9359375" y="1708911"/>
            <a:ext cx="808631" cy="4353603"/>
          </a:xfrm>
          <a:prstGeom prst="accentCallout1">
            <a:avLst>
              <a:gd name="adj1" fmla="val 49897"/>
              <a:gd name="adj2" fmla="val -6282"/>
              <a:gd name="adj3" fmla="val 49731"/>
              <a:gd name="adj4" fmla="val -69121"/>
            </a:avLst>
          </a:prstGeom>
          <a:solidFill>
            <a:schemeClr val="bg1"/>
          </a:solidFill>
          <a:ln w="19050">
            <a:solidFill>
              <a:srgbClr val="59B3D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TextBox 6"/>
          <p:cNvSpPr txBox="1"/>
          <p:nvPr/>
        </p:nvSpPr>
        <p:spPr>
          <a:xfrm>
            <a:off x="984113" y="3150114"/>
            <a:ext cx="1311578" cy="273280"/>
          </a:xfrm>
          <a:prstGeom prst="rect">
            <a:avLst/>
          </a:prstGeom>
          <a:noFill/>
        </p:spPr>
        <p:txBody>
          <a:bodyPr wrap="none" rtlCol="0">
            <a:spAutoFit/>
          </a:bodyPr>
          <a:lstStyle/>
          <a:p>
            <a:pPr algn="ctr" defTabSz="914367"/>
            <a:r>
              <a:rPr lang="en-US" sz="1176" b="1" dirty="0">
                <a:solidFill>
                  <a:srgbClr val="007DA4"/>
                </a:solidFill>
                <a:latin typeface="Segoe UI"/>
              </a:rPr>
              <a:t>SQL Instance #1</a:t>
            </a:r>
          </a:p>
        </p:txBody>
      </p:sp>
      <p:sp>
        <p:nvSpPr>
          <p:cNvPr id="8" name="TextBox 7"/>
          <p:cNvSpPr txBox="1"/>
          <p:nvPr/>
        </p:nvSpPr>
        <p:spPr>
          <a:xfrm>
            <a:off x="3009297" y="3150114"/>
            <a:ext cx="1311578" cy="273280"/>
          </a:xfrm>
          <a:prstGeom prst="rect">
            <a:avLst/>
          </a:prstGeom>
          <a:noFill/>
        </p:spPr>
        <p:txBody>
          <a:bodyPr wrap="none" rtlCol="0">
            <a:spAutoFit/>
          </a:bodyPr>
          <a:lstStyle/>
          <a:p>
            <a:pPr algn="ctr" defTabSz="914367"/>
            <a:r>
              <a:rPr lang="en-US" sz="1176" b="1" dirty="0">
                <a:solidFill>
                  <a:srgbClr val="007DA4"/>
                </a:solidFill>
                <a:latin typeface="Segoe UI"/>
              </a:rPr>
              <a:t>SQL Instance #2</a:t>
            </a:r>
          </a:p>
        </p:txBody>
      </p:sp>
      <p:graphicFrame>
        <p:nvGraphicFramePr>
          <p:cNvPr id="9" name="Object 8">
            <a:extLst/>
          </p:cNvPr>
          <p:cNvGraphicFramePr>
            <a:graphicFrameLocks noChangeAspect="1"/>
          </p:cNvGraphicFramePr>
          <p:nvPr>
            <p:extLst/>
          </p:nvPr>
        </p:nvGraphicFramePr>
        <p:xfrm>
          <a:off x="11175815" y="3580051"/>
          <a:ext cx="602028" cy="601593"/>
        </p:xfrm>
        <a:graphic>
          <a:graphicData uri="http://schemas.openxmlformats.org/presentationml/2006/ole">
            <mc:AlternateContent xmlns:mc="http://schemas.openxmlformats.org/markup-compatibility/2006">
              <mc:Choice xmlns:v="urn:schemas-microsoft-com:vml" Requires="v">
                <p:oleObj spid="_x0000_s5422" name="CorelDRAW" r:id="rId4" imgW="2192109" imgH="2190886" progId="CorelDraw.Graphic.17">
                  <p:embed/>
                </p:oleObj>
              </mc:Choice>
              <mc:Fallback>
                <p:oleObj name="CorelDRAW" r:id="rId4" imgW="2192109" imgH="2190886" progId="CorelDraw.Graphic.17">
                  <p:embed/>
                  <p:pic>
                    <p:nvPicPr>
                      <p:cNvPr id="9" name="Object 8">
                        <a:extLst/>
                      </p:cNvPr>
                      <p:cNvPicPr/>
                      <p:nvPr/>
                    </p:nvPicPr>
                    <p:blipFill>
                      <a:blip r:embed="rId5"/>
                      <a:stretch>
                        <a:fillRect/>
                      </a:stretch>
                    </p:blipFill>
                    <p:spPr>
                      <a:xfrm>
                        <a:off x="11175815" y="3580051"/>
                        <a:ext cx="602028" cy="601593"/>
                      </a:xfrm>
                      <a:prstGeom prst="rect">
                        <a:avLst/>
                      </a:prstGeom>
                    </p:spPr>
                  </p:pic>
                </p:oleObj>
              </mc:Fallback>
            </mc:AlternateContent>
          </a:graphicData>
        </a:graphic>
      </p:graphicFrame>
      <p:graphicFrame>
        <p:nvGraphicFramePr>
          <p:cNvPr id="10" name="Object 9">
            <a:extLst/>
          </p:cNvPr>
          <p:cNvGraphicFramePr>
            <a:graphicFrameLocks noChangeAspect="1"/>
          </p:cNvGraphicFramePr>
          <p:nvPr>
            <p:extLst/>
          </p:nvPr>
        </p:nvGraphicFramePr>
        <p:xfrm>
          <a:off x="10299672" y="3580051"/>
          <a:ext cx="623389" cy="601593"/>
        </p:xfrm>
        <a:graphic>
          <a:graphicData uri="http://schemas.openxmlformats.org/presentationml/2006/ole">
            <mc:AlternateContent xmlns:mc="http://schemas.openxmlformats.org/markup-compatibility/2006">
              <mc:Choice xmlns:v="urn:schemas-microsoft-com:vml" Requires="v">
                <p:oleObj spid="_x0000_s5423" name="CorelDRAW" r:id="rId6" imgW="2270122" imgH="2190886" progId="CorelDraw.Graphic.17">
                  <p:embed/>
                </p:oleObj>
              </mc:Choice>
              <mc:Fallback>
                <p:oleObj name="CorelDRAW" r:id="rId6" imgW="2270122" imgH="2190886" progId="CorelDraw.Graphic.17">
                  <p:embed/>
                  <p:pic>
                    <p:nvPicPr>
                      <p:cNvPr id="10" name="Object 9">
                        <a:extLst/>
                      </p:cNvPr>
                      <p:cNvPicPr/>
                      <p:nvPr/>
                    </p:nvPicPr>
                    <p:blipFill>
                      <a:blip r:embed="rId7"/>
                      <a:stretch>
                        <a:fillRect/>
                      </a:stretch>
                    </p:blipFill>
                    <p:spPr>
                      <a:xfrm>
                        <a:off x="10299672" y="3580051"/>
                        <a:ext cx="623389" cy="601593"/>
                      </a:xfrm>
                      <a:prstGeom prst="rect">
                        <a:avLst/>
                      </a:prstGeom>
                    </p:spPr>
                  </p:pic>
                </p:oleObj>
              </mc:Fallback>
            </mc:AlternateContent>
          </a:graphicData>
        </a:graphic>
      </p:graphicFrame>
      <p:graphicFrame>
        <p:nvGraphicFramePr>
          <p:cNvPr id="11" name="Object 10">
            <a:extLst/>
          </p:cNvPr>
          <p:cNvGraphicFramePr>
            <a:graphicFrameLocks noChangeAspect="1"/>
          </p:cNvGraphicFramePr>
          <p:nvPr>
            <p:extLst/>
          </p:nvPr>
        </p:nvGraphicFramePr>
        <p:xfrm>
          <a:off x="9474602" y="3574385"/>
          <a:ext cx="575436" cy="612927"/>
        </p:xfrm>
        <a:graphic>
          <a:graphicData uri="http://schemas.openxmlformats.org/presentationml/2006/ole">
            <mc:AlternateContent xmlns:mc="http://schemas.openxmlformats.org/markup-compatibility/2006">
              <mc:Choice xmlns:v="urn:schemas-microsoft-com:vml" Requires="v">
                <p:oleObj spid="_x0000_s5424" name="CorelDRAW" r:id="rId8" imgW="2095309" imgH="2231299" progId="CorelDraw.Graphic.17">
                  <p:embed/>
                </p:oleObj>
              </mc:Choice>
              <mc:Fallback>
                <p:oleObj name="CorelDRAW" r:id="rId8" imgW="2095309" imgH="2231299" progId="CorelDraw.Graphic.17">
                  <p:embed/>
                  <p:pic>
                    <p:nvPicPr>
                      <p:cNvPr id="11" name="Object 10">
                        <a:extLst/>
                      </p:cNvPr>
                      <p:cNvPicPr/>
                      <p:nvPr/>
                    </p:nvPicPr>
                    <p:blipFill>
                      <a:blip r:embed="rId9"/>
                      <a:stretch>
                        <a:fillRect/>
                      </a:stretch>
                    </p:blipFill>
                    <p:spPr>
                      <a:xfrm>
                        <a:off x="9474602" y="3574385"/>
                        <a:ext cx="575436" cy="612927"/>
                      </a:xfrm>
                      <a:prstGeom prst="rect">
                        <a:avLst/>
                      </a:prstGeom>
                    </p:spPr>
                  </p:pic>
                </p:oleObj>
              </mc:Fallback>
            </mc:AlternateContent>
          </a:graphicData>
        </a:graphic>
      </p:graphicFrame>
      <p:graphicFrame>
        <p:nvGraphicFramePr>
          <p:cNvPr id="12" name="Object 11">
            <a:extLst/>
          </p:cNvPr>
          <p:cNvGraphicFramePr>
            <a:graphicFrameLocks noChangeAspect="1"/>
          </p:cNvGraphicFramePr>
          <p:nvPr>
            <p:extLst/>
          </p:nvPr>
        </p:nvGraphicFramePr>
        <p:xfrm>
          <a:off x="8594127" y="3580051"/>
          <a:ext cx="602028" cy="601593"/>
        </p:xfrm>
        <a:graphic>
          <a:graphicData uri="http://schemas.openxmlformats.org/presentationml/2006/ole">
            <mc:AlternateContent xmlns:mc="http://schemas.openxmlformats.org/markup-compatibility/2006">
              <mc:Choice xmlns:v="urn:schemas-microsoft-com:vml" Requires="v">
                <p:oleObj spid="_x0000_s5425" name="CorelDRAW" r:id="rId10" imgW="2192109" imgH="2190886" progId="CorelDraw.Graphic.17">
                  <p:embed/>
                </p:oleObj>
              </mc:Choice>
              <mc:Fallback>
                <p:oleObj name="CorelDRAW" r:id="rId10" imgW="2192109" imgH="2190886" progId="CorelDraw.Graphic.17">
                  <p:embed/>
                  <p:pic>
                    <p:nvPicPr>
                      <p:cNvPr id="12" name="Object 11">
                        <a:extLst/>
                      </p:cNvPr>
                      <p:cNvPicPr/>
                      <p:nvPr/>
                    </p:nvPicPr>
                    <p:blipFill>
                      <a:blip r:embed="rId11"/>
                      <a:stretch>
                        <a:fillRect/>
                      </a:stretch>
                    </p:blipFill>
                    <p:spPr>
                      <a:xfrm>
                        <a:off x="8594127" y="3580051"/>
                        <a:ext cx="602028" cy="601593"/>
                      </a:xfrm>
                      <a:prstGeom prst="rect">
                        <a:avLst/>
                      </a:prstGeom>
                    </p:spPr>
                  </p:pic>
                </p:oleObj>
              </mc:Fallback>
            </mc:AlternateContent>
          </a:graphicData>
        </a:graphic>
      </p:graphicFrame>
      <p:graphicFrame>
        <p:nvGraphicFramePr>
          <p:cNvPr id="13" name="Object 12">
            <a:extLst/>
          </p:cNvPr>
          <p:cNvGraphicFramePr>
            <a:graphicFrameLocks noChangeAspect="1"/>
          </p:cNvGraphicFramePr>
          <p:nvPr>
            <p:extLst/>
          </p:nvPr>
        </p:nvGraphicFramePr>
        <p:xfrm>
          <a:off x="7745477" y="3580051"/>
          <a:ext cx="570205" cy="601593"/>
        </p:xfrm>
        <a:graphic>
          <a:graphicData uri="http://schemas.openxmlformats.org/presentationml/2006/ole">
            <mc:AlternateContent xmlns:mc="http://schemas.openxmlformats.org/markup-compatibility/2006">
              <mc:Choice xmlns:v="urn:schemas-microsoft-com:vml" Requires="v">
                <p:oleObj spid="_x0000_s5426" name="CorelDRAW" r:id="rId12" imgW="2075703" imgH="2190886" progId="CorelDraw.Graphic.17">
                  <p:embed/>
                </p:oleObj>
              </mc:Choice>
              <mc:Fallback>
                <p:oleObj name="CorelDRAW" r:id="rId12" imgW="2075703" imgH="2190886" progId="CorelDraw.Graphic.17">
                  <p:embed/>
                  <p:pic>
                    <p:nvPicPr>
                      <p:cNvPr id="13" name="Object 12">
                        <a:extLst/>
                      </p:cNvPr>
                      <p:cNvPicPr/>
                      <p:nvPr/>
                    </p:nvPicPr>
                    <p:blipFill>
                      <a:blip r:embed="rId13"/>
                      <a:stretch>
                        <a:fillRect/>
                      </a:stretch>
                    </p:blipFill>
                    <p:spPr>
                      <a:xfrm>
                        <a:off x="7745477" y="3580051"/>
                        <a:ext cx="570205" cy="601593"/>
                      </a:xfrm>
                      <a:prstGeom prst="rect">
                        <a:avLst/>
                      </a:prstGeom>
                    </p:spPr>
                  </p:pic>
                </p:oleObj>
              </mc:Fallback>
            </mc:AlternateContent>
          </a:graphicData>
        </a:graphic>
      </p:graphicFrame>
      <p:cxnSp>
        <p:nvCxnSpPr>
          <p:cNvPr id="14" name="Straight Arrow Connector 13">
            <a:extLst/>
          </p:cNvPr>
          <p:cNvCxnSpPr>
            <a:cxnSpLocks/>
            <a:endCxn id="17" idx="3"/>
          </p:cNvCxnSpPr>
          <p:nvPr/>
        </p:nvCxnSpPr>
        <p:spPr>
          <a:xfrm flipH="1">
            <a:off x="10460436" y="5822004"/>
            <a:ext cx="416497" cy="0"/>
          </a:xfrm>
          <a:prstGeom prst="straightConnector1">
            <a:avLst/>
          </a:prstGeom>
          <a:ln w="38100">
            <a:solidFill>
              <a:srgbClr val="00817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p:cNvPr>
          <p:cNvCxnSpPr>
            <a:cxnSpLocks/>
            <a:stCxn id="17" idx="1"/>
            <a:endCxn id="21" idx="3"/>
          </p:cNvCxnSpPr>
          <p:nvPr/>
        </p:nvCxnSpPr>
        <p:spPr>
          <a:xfrm flipH="1" flipV="1">
            <a:off x="7487704" y="5811677"/>
            <a:ext cx="283456" cy="10328"/>
          </a:xfrm>
          <a:prstGeom prst="straightConnector1">
            <a:avLst/>
          </a:prstGeom>
          <a:ln w="38100">
            <a:solidFill>
              <a:srgbClr val="00817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8055272" y="6263302"/>
            <a:ext cx="2371489" cy="271554"/>
          </a:xfrm>
          <a:prstGeom prst="rect">
            <a:avLst/>
          </a:prstGeom>
          <a:noFill/>
        </p:spPr>
        <p:txBody>
          <a:bodyPr wrap="square" rtlCol="0">
            <a:spAutoFit/>
          </a:bodyPr>
          <a:lstStyle/>
          <a:p>
            <a:pPr algn="ctr" defTabSz="914367"/>
            <a:r>
              <a:rPr lang="en-US" sz="1176" b="1" dirty="0">
                <a:solidFill>
                  <a:srgbClr val="008171"/>
                </a:solidFill>
                <a:latin typeface="Segoe UI"/>
              </a:rPr>
              <a:t>IPsec IKE S2S VPN Tunnel</a:t>
            </a:r>
          </a:p>
        </p:txBody>
      </p:sp>
      <p:graphicFrame>
        <p:nvGraphicFramePr>
          <p:cNvPr id="17" name="Object 16">
            <a:extLst/>
          </p:cNvPr>
          <p:cNvGraphicFramePr>
            <a:graphicFrameLocks noChangeAspect="1"/>
          </p:cNvGraphicFramePr>
          <p:nvPr>
            <p:extLst/>
          </p:nvPr>
        </p:nvGraphicFramePr>
        <p:xfrm>
          <a:off x="7771161" y="5563732"/>
          <a:ext cx="2689274" cy="516544"/>
        </p:xfrm>
        <a:graphic>
          <a:graphicData uri="http://schemas.openxmlformats.org/presentationml/2006/ole">
            <mc:AlternateContent xmlns:mc="http://schemas.openxmlformats.org/markup-compatibility/2006">
              <mc:Choice xmlns:v="urn:schemas-microsoft-com:vml" Requires="v">
                <p:oleObj spid="_x0000_s5427" name="CorelDRAW" r:id="rId14" imgW="1843300" imgH="354738" progId="CorelDraw.Graphic.17">
                  <p:embed/>
                </p:oleObj>
              </mc:Choice>
              <mc:Fallback>
                <p:oleObj name="CorelDRAW" r:id="rId14" imgW="1843300" imgH="354738" progId="CorelDraw.Graphic.17">
                  <p:embed/>
                  <p:pic>
                    <p:nvPicPr>
                      <p:cNvPr id="17" name="Object 16">
                        <a:extLst/>
                      </p:cNvPr>
                      <p:cNvPicPr/>
                      <p:nvPr/>
                    </p:nvPicPr>
                    <p:blipFill>
                      <a:blip r:embed="rId15"/>
                      <a:stretch>
                        <a:fillRect/>
                      </a:stretch>
                    </p:blipFill>
                    <p:spPr>
                      <a:xfrm>
                        <a:off x="7771161" y="5563732"/>
                        <a:ext cx="2689274" cy="516544"/>
                      </a:xfrm>
                      <a:prstGeom prst="rect">
                        <a:avLst/>
                      </a:prstGeom>
                    </p:spPr>
                  </p:pic>
                </p:oleObj>
              </mc:Fallback>
            </mc:AlternateContent>
          </a:graphicData>
        </a:graphic>
      </p:graphicFrame>
      <p:graphicFrame>
        <p:nvGraphicFramePr>
          <p:cNvPr id="18" name="Object 17">
            <a:extLst/>
          </p:cNvPr>
          <p:cNvGraphicFramePr>
            <a:graphicFrameLocks noChangeAspect="1"/>
          </p:cNvGraphicFramePr>
          <p:nvPr>
            <p:extLst/>
          </p:nvPr>
        </p:nvGraphicFramePr>
        <p:xfrm>
          <a:off x="10746381" y="5002193"/>
          <a:ext cx="1148745" cy="1201520"/>
        </p:xfrm>
        <a:graphic>
          <a:graphicData uri="http://schemas.openxmlformats.org/presentationml/2006/ole">
            <mc:AlternateContent xmlns:mc="http://schemas.openxmlformats.org/markup-compatibility/2006">
              <mc:Choice xmlns:v="urn:schemas-microsoft-com:vml" Requires="v">
                <p:oleObj spid="_x0000_s5428" name="CorelDRAW" r:id="rId16" imgW="1036218" imgH="1084217" progId="CorelDraw.Graphic.17">
                  <p:embed/>
                </p:oleObj>
              </mc:Choice>
              <mc:Fallback>
                <p:oleObj name="CorelDRAW" r:id="rId16" imgW="1036218" imgH="1084217" progId="CorelDraw.Graphic.17">
                  <p:embed/>
                  <p:pic>
                    <p:nvPicPr>
                      <p:cNvPr id="18" name="Object 17">
                        <a:extLst/>
                      </p:cNvPr>
                      <p:cNvPicPr/>
                      <p:nvPr/>
                    </p:nvPicPr>
                    <p:blipFill>
                      <a:blip r:embed="rId17"/>
                      <a:stretch>
                        <a:fillRect/>
                      </a:stretch>
                    </p:blipFill>
                    <p:spPr>
                      <a:xfrm>
                        <a:off x="10746381" y="5002193"/>
                        <a:ext cx="1148745" cy="1201520"/>
                      </a:xfrm>
                      <a:prstGeom prst="rect">
                        <a:avLst/>
                      </a:prstGeom>
                    </p:spPr>
                  </p:pic>
                </p:oleObj>
              </mc:Fallback>
            </mc:AlternateContent>
          </a:graphicData>
        </a:graphic>
      </p:graphicFrame>
      <p:sp>
        <p:nvSpPr>
          <p:cNvPr id="19" name="TextBox 18">
            <a:extLst/>
          </p:cNvPr>
          <p:cNvSpPr txBox="1"/>
          <p:nvPr/>
        </p:nvSpPr>
        <p:spPr>
          <a:xfrm>
            <a:off x="10701016" y="6263302"/>
            <a:ext cx="1239476" cy="271554"/>
          </a:xfrm>
          <a:prstGeom prst="rect">
            <a:avLst/>
          </a:prstGeom>
          <a:noFill/>
        </p:spPr>
        <p:txBody>
          <a:bodyPr wrap="square" rtlCol="0">
            <a:spAutoFit/>
          </a:bodyPr>
          <a:lstStyle/>
          <a:p>
            <a:pPr algn="ctr" defTabSz="914367"/>
            <a:r>
              <a:rPr lang="sr-Cyrl-RS" sz="1176" b="1" dirty="0">
                <a:solidFill>
                  <a:srgbClr val="277B9D"/>
                </a:solidFill>
                <a:latin typeface="Segoe UI"/>
              </a:rPr>
              <a:t>о</a:t>
            </a:r>
            <a:r>
              <a:rPr lang="en-US" sz="1176" b="1" dirty="0">
                <a:solidFill>
                  <a:srgbClr val="277B9D"/>
                </a:solidFill>
                <a:latin typeface="Segoe UI"/>
              </a:rPr>
              <a:t>n</a:t>
            </a:r>
            <a:r>
              <a:rPr lang="sr-Cyrl-RS" sz="1176" b="1" dirty="0">
                <a:solidFill>
                  <a:srgbClr val="277B9D"/>
                </a:solidFill>
                <a:latin typeface="Segoe UI"/>
              </a:rPr>
              <a:t>-</a:t>
            </a:r>
            <a:r>
              <a:rPr lang="en-US" sz="1176" b="1" dirty="0">
                <a:solidFill>
                  <a:srgbClr val="277B9D"/>
                </a:solidFill>
                <a:latin typeface="Segoe UI"/>
              </a:rPr>
              <a:t>premises</a:t>
            </a:r>
          </a:p>
        </p:txBody>
      </p:sp>
      <p:sp>
        <p:nvSpPr>
          <p:cNvPr id="20" name="TextBox 19">
            <a:extLst/>
          </p:cNvPr>
          <p:cNvSpPr txBox="1"/>
          <p:nvPr/>
        </p:nvSpPr>
        <p:spPr>
          <a:xfrm>
            <a:off x="6236783" y="6263302"/>
            <a:ext cx="1679755" cy="452590"/>
          </a:xfrm>
          <a:prstGeom prst="rect">
            <a:avLst/>
          </a:prstGeom>
          <a:solidFill>
            <a:schemeClr val="bg2"/>
          </a:solidFill>
        </p:spPr>
        <p:txBody>
          <a:bodyPr wrap="square" rtlCol="0">
            <a:spAutoFit/>
          </a:bodyPr>
          <a:lstStyle/>
          <a:p>
            <a:pPr algn="ctr" defTabSz="914367"/>
            <a:r>
              <a:rPr lang="en-US" sz="1176" b="1" dirty="0">
                <a:solidFill>
                  <a:srgbClr val="0071C5"/>
                </a:solidFill>
                <a:latin typeface="Segoe UI"/>
              </a:rPr>
              <a:t>VPN / Express Route Gateway</a:t>
            </a:r>
          </a:p>
        </p:txBody>
      </p:sp>
      <p:graphicFrame>
        <p:nvGraphicFramePr>
          <p:cNvPr id="21" name="Object 20">
            <a:extLst/>
          </p:cNvPr>
          <p:cNvGraphicFramePr>
            <a:graphicFrameLocks noChangeAspect="1"/>
          </p:cNvGraphicFramePr>
          <p:nvPr>
            <p:extLst/>
          </p:nvPr>
        </p:nvGraphicFramePr>
        <p:xfrm>
          <a:off x="6661313" y="5398481"/>
          <a:ext cx="826391" cy="826391"/>
        </p:xfrm>
        <a:graphic>
          <a:graphicData uri="http://schemas.openxmlformats.org/presentationml/2006/ole">
            <mc:AlternateContent xmlns:mc="http://schemas.openxmlformats.org/markup-compatibility/2006">
              <mc:Choice xmlns:v="urn:schemas-microsoft-com:vml" Requires="v">
                <p:oleObj spid="_x0000_s5429" name="CorelDRAW" r:id="rId18" imgW="1991156" imgH="1990045" progId="CorelDraw.Graphic.17">
                  <p:embed/>
                </p:oleObj>
              </mc:Choice>
              <mc:Fallback>
                <p:oleObj name="CorelDRAW" r:id="rId18" imgW="1991156" imgH="1990045" progId="CorelDraw.Graphic.17">
                  <p:embed/>
                  <p:pic>
                    <p:nvPicPr>
                      <p:cNvPr id="21" name="Object 20">
                        <a:extLst/>
                      </p:cNvPr>
                      <p:cNvPicPr/>
                      <p:nvPr/>
                    </p:nvPicPr>
                    <p:blipFill>
                      <a:blip r:embed="rId19"/>
                      <a:stretch>
                        <a:fillRect/>
                      </a:stretch>
                    </p:blipFill>
                    <p:spPr>
                      <a:xfrm>
                        <a:off x="6661313" y="5398481"/>
                        <a:ext cx="826391" cy="826391"/>
                      </a:xfrm>
                      <a:prstGeom prst="rect">
                        <a:avLst/>
                      </a:prstGeom>
                    </p:spPr>
                  </p:pic>
                </p:oleObj>
              </mc:Fallback>
            </mc:AlternateContent>
          </a:graphicData>
        </a:graphic>
      </p:graphicFrame>
      <p:cxnSp>
        <p:nvCxnSpPr>
          <p:cNvPr id="22" name="Connector: Elbow 21">
            <a:extLst/>
          </p:cNvPr>
          <p:cNvCxnSpPr>
            <a:cxnSpLocks/>
            <a:stCxn id="21" idx="0"/>
            <a:endCxn id="24" idx="3"/>
          </p:cNvCxnSpPr>
          <p:nvPr/>
        </p:nvCxnSpPr>
        <p:spPr>
          <a:xfrm rot="16200000" flipV="1">
            <a:off x="4276333" y="2600304"/>
            <a:ext cx="2671812" cy="2924542"/>
          </a:xfrm>
          <a:prstGeom prst="bentConnector2">
            <a:avLst/>
          </a:prstGeom>
          <a:ln w="38100">
            <a:solidFill>
              <a:srgbClr val="0071C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aphicFrame>
        <p:nvGraphicFramePr>
          <p:cNvPr id="23" name="Object 22">
            <a:extLst/>
          </p:cNvPr>
          <p:cNvGraphicFramePr>
            <a:graphicFrameLocks noChangeAspect="1"/>
          </p:cNvGraphicFramePr>
          <p:nvPr>
            <p:extLst/>
          </p:nvPr>
        </p:nvGraphicFramePr>
        <p:xfrm>
          <a:off x="1155020" y="3483980"/>
          <a:ext cx="969765" cy="907197"/>
        </p:xfrm>
        <a:graphic>
          <a:graphicData uri="http://schemas.openxmlformats.org/presentationml/2006/ole">
            <mc:AlternateContent xmlns:mc="http://schemas.openxmlformats.org/markup-compatibility/2006">
              <mc:Choice xmlns:v="urn:schemas-microsoft-com:vml" Requires="v">
                <p:oleObj spid="_x0000_s5430" name="CorelDRAW" r:id="rId20" imgW="344317" imgH="322489" progId="CorelDraw.Graphic.17">
                  <p:embed/>
                </p:oleObj>
              </mc:Choice>
              <mc:Fallback>
                <p:oleObj name="CorelDRAW" r:id="rId20" imgW="344317" imgH="322489" progId="CorelDraw.Graphic.17">
                  <p:embed/>
                  <p:pic>
                    <p:nvPicPr>
                      <p:cNvPr id="23" name="Object 22">
                        <a:extLst/>
                      </p:cNvPr>
                      <p:cNvPicPr/>
                      <p:nvPr/>
                    </p:nvPicPr>
                    <p:blipFill>
                      <a:blip r:embed="rId21"/>
                      <a:stretch>
                        <a:fillRect/>
                      </a:stretch>
                    </p:blipFill>
                    <p:spPr>
                      <a:xfrm>
                        <a:off x="1155020" y="3483980"/>
                        <a:ext cx="969765" cy="907197"/>
                      </a:xfrm>
                      <a:prstGeom prst="rect">
                        <a:avLst/>
                      </a:prstGeom>
                    </p:spPr>
                  </p:pic>
                </p:oleObj>
              </mc:Fallback>
            </mc:AlternateContent>
          </a:graphicData>
        </a:graphic>
      </p:graphicFrame>
      <p:graphicFrame>
        <p:nvGraphicFramePr>
          <p:cNvPr id="24" name="Object 23">
            <a:extLst/>
          </p:cNvPr>
          <p:cNvGraphicFramePr>
            <a:graphicFrameLocks noChangeAspect="1"/>
          </p:cNvGraphicFramePr>
          <p:nvPr>
            <p:extLst/>
          </p:nvPr>
        </p:nvGraphicFramePr>
        <p:xfrm>
          <a:off x="3180202" y="2273071"/>
          <a:ext cx="969765" cy="907197"/>
        </p:xfrm>
        <a:graphic>
          <a:graphicData uri="http://schemas.openxmlformats.org/presentationml/2006/ole">
            <mc:AlternateContent xmlns:mc="http://schemas.openxmlformats.org/markup-compatibility/2006">
              <mc:Choice xmlns:v="urn:schemas-microsoft-com:vml" Requires="v">
                <p:oleObj spid="_x0000_s5431" name="CorelDRAW" r:id="rId22" imgW="344317" imgH="322489" progId="CorelDraw.Graphic.17">
                  <p:embed/>
                </p:oleObj>
              </mc:Choice>
              <mc:Fallback>
                <p:oleObj name="CorelDRAW" r:id="rId22" imgW="344317" imgH="322489" progId="CorelDraw.Graphic.17">
                  <p:embed/>
                  <p:pic>
                    <p:nvPicPr>
                      <p:cNvPr id="24" name="Object 23">
                        <a:extLst/>
                      </p:cNvPr>
                      <p:cNvPicPr/>
                      <p:nvPr/>
                    </p:nvPicPr>
                    <p:blipFill>
                      <a:blip r:embed="rId21"/>
                      <a:stretch>
                        <a:fillRect/>
                      </a:stretch>
                    </p:blipFill>
                    <p:spPr>
                      <a:xfrm>
                        <a:off x="3180202" y="2273071"/>
                        <a:ext cx="969765" cy="907197"/>
                      </a:xfrm>
                      <a:prstGeom prst="rect">
                        <a:avLst/>
                      </a:prstGeom>
                    </p:spPr>
                  </p:pic>
                </p:oleObj>
              </mc:Fallback>
            </mc:AlternateContent>
          </a:graphicData>
        </a:graphic>
      </p:graphicFrame>
      <p:graphicFrame>
        <p:nvGraphicFramePr>
          <p:cNvPr id="25" name="Object 24">
            <a:extLst/>
          </p:cNvPr>
          <p:cNvGraphicFramePr>
            <a:graphicFrameLocks noChangeAspect="1"/>
          </p:cNvGraphicFramePr>
          <p:nvPr>
            <p:extLst/>
          </p:nvPr>
        </p:nvGraphicFramePr>
        <p:xfrm>
          <a:off x="1155020" y="2273071"/>
          <a:ext cx="969765" cy="907197"/>
        </p:xfrm>
        <a:graphic>
          <a:graphicData uri="http://schemas.openxmlformats.org/presentationml/2006/ole">
            <mc:AlternateContent xmlns:mc="http://schemas.openxmlformats.org/markup-compatibility/2006">
              <mc:Choice xmlns:v="urn:schemas-microsoft-com:vml" Requires="v">
                <p:oleObj spid="_x0000_s5432" name="CorelDRAW" r:id="rId23" imgW="344317" imgH="322489" progId="CorelDraw.Graphic.17">
                  <p:embed/>
                </p:oleObj>
              </mc:Choice>
              <mc:Fallback>
                <p:oleObj name="CorelDRAW" r:id="rId23" imgW="344317" imgH="322489" progId="CorelDraw.Graphic.17">
                  <p:embed/>
                  <p:pic>
                    <p:nvPicPr>
                      <p:cNvPr id="25" name="Object 24">
                        <a:extLst/>
                      </p:cNvPr>
                      <p:cNvPicPr/>
                      <p:nvPr/>
                    </p:nvPicPr>
                    <p:blipFill>
                      <a:blip r:embed="rId21"/>
                      <a:stretch>
                        <a:fillRect/>
                      </a:stretch>
                    </p:blipFill>
                    <p:spPr>
                      <a:xfrm>
                        <a:off x="1155020" y="2273071"/>
                        <a:ext cx="969765" cy="907197"/>
                      </a:xfrm>
                      <a:prstGeom prst="rect">
                        <a:avLst/>
                      </a:prstGeom>
                    </p:spPr>
                  </p:pic>
                </p:oleObj>
              </mc:Fallback>
            </mc:AlternateContent>
          </a:graphicData>
        </a:graphic>
      </p:graphicFrame>
      <p:cxnSp>
        <p:nvCxnSpPr>
          <p:cNvPr id="26" name="Connector: Elbow 25">
            <a:extLst/>
          </p:cNvPr>
          <p:cNvCxnSpPr>
            <a:cxnSpLocks/>
            <a:endCxn id="25" idx="0"/>
          </p:cNvCxnSpPr>
          <p:nvPr/>
        </p:nvCxnSpPr>
        <p:spPr>
          <a:xfrm rot="10800000" flipV="1">
            <a:off x="1639901" y="1432279"/>
            <a:ext cx="7387209" cy="840791"/>
          </a:xfrm>
          <a:prstGeom prst="bentConnector2">
            <a:avLst/>
          </a:prstGeom>
          <a:ln w="19050">
            <a:solidFill>
              <a:srgbClr val="59B3D8"/>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p:cNvPr>
          <p:cNvCxnSpPr>
            <a:cxnSpLocks/>
            <a:endCxn id="24" idx="0"/>
          </p:cNvCxnSpPr>
          <p:nvPr/>
        </p:nvCxnSpPr>
        <p:spPr>
          <a:xfrm rot="10800000" flipV="1">
            <a:off x="3665084" y="1672368"/>
            <a:ext cx="5362026" cy="600702"/>
          </a:xfrm>
          <a:prstGeom prst="bentConnector2">
            <a:avLst/>
          </a:prstGeom>
          <a:ln w="19050">
            <a:solidFill>
              <a:srgbClr val="59B3D8"/>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p:cNvPr>
          <p:cNvCxnSpPr>
            <a:cxnSpLocks/>
            <a:stCxn id="24" idx="1"/>
            <a:endCxn id="23" idx="3"/>
          </p:cNvCxnSpPr>
          <p:nvPr/>
        </p:nvCxnSpPr>
        <p:spPr>
          <a:xfrm rot="10800000" flipV="1">
            <a:off x="2124785" y="2726669"/>
            <a:ext cx="1055418" cy="1210910"/>
          </a:xfrm>
          <a:prstGeom prst="bentConnector3">
            <a:avLst>
              <a:gd name="adj1" fmla="val 50000"/>
            </a:avLst>
          </a:prstGeom>
          <a:ln w="19050">
            <a:solidFill>
              <a:srgbClr val="00BBF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p:cNvPr>
          <p:cNvSpPr txBox="1"/>
          <p:nvPr/>
        </p:nvSpPr>
        <p:spPr>
          <a:xfrm>
            <a:off x="985249" y="4359518"/>
            <a:ext cx="1311578" cy="273280"/>
          </a:xfrm>
          <a:prstGeom prst="rect">
            <a:avLst/>
          </a:prstGeom>
          <a:noFill/>
        </p:spPr>
        <p:txBody>
          <a:bodyPr wrap="none" rtlCol="0">
            <a:spAutoFit/>
          </a:bodyPr>
          <a:lstStyle/>
          <a:p>
            <a:pPr algn="ctr" defTabSz="914367"/>
            <a:r>
              <a:rPr lang="en-US" sz="1176" b="1" dirty="0">
                <a:solidFill>
                  <a:srgbClr val="007DA4"/>
                </a:solidFill>
                <a:latin typeface="Segoe UI"/>
              </a:rPr>
              <a:t>SQL Instance #3</a:t>
            </a:r>
          </a:p>
        </p:txBody>
      </p:sp>
      <p:graphicFrame>
        <p:nvGraphicFramePr>
          <p:cNvPr id="30" name="Object 29">
            <a:extLst/>
          </p:cNvPr>
          <p:cNvGraphicFramePr>
            <a:graphicFrameLocks noChangeAspect="1"/>
          </p:cNvGraphicFramePr>
          <p:nvPr>
            <p:extLst/>
          </p:nvPr>
        </p:nvGraphicFramePr>
        <p:xfrm>
          <a:off x="9227047" y="1631058"/>
          <a:ext cx="1093638" cy="1093638"/>
        </p:xfrm>
        <a:graphic>
          <a:graphicData uri="http://schemas.openxmlformats.org/presentationml/2006/ole">
            <mc:AlternateContent xmlns:mc="http://schemas.openxmlformats.org/markup-compatibility/2006">
              <mc:Choice xmlns:v="urn:schemas-microsoft-com:vml" Requires="v">
                <p:oleObj spid="_x0000_s5433" name="CorelDRAW" r:id="rId24" imgW="344725" imgH="344125" progId="CorelDraw.Graphic.17">
                  <p:embed/>
                </p:oleObj>
              </mc:Choice>
              <mc:Fallback>
                <p:oleObj name="CorelDRAW" r:id="rId24" imgW="344725" imgH="344125" progId="CorelDraw.Graphic.17">
                  <p:embed/>
                  <p:pic>
                    <p:nvPicPr>
                      <p:cNvPr id="30" name="Object 29">
                        <a:extLst/>
                      </p:cNvPr>
                      <p:cNvPicPr/>
                      <p:nvPr/>
                    </p:nvPicPr>
                    <p:blipFill>
                      <a:blip r:embed="rId25"/>
                      <a:stretch>
                        <a:fillRect/>
                      </a:stretch>
                    </p:blipFill>
                    <p:spPr>
                      <a:xfrm>
                        <a:off x="9227047" y="1631058"/>
                        <a:ext cx="1093638" cy="1093638"/>
                      </a:xfrm>
                      <a:prstGeom prst="rect">
                        <a:avLst/>
                      </a:prstGeom>
                    </p:spPr>
                  </p:pic>
                </p:oleObj>
              </mc:Fallback>
            </mc:AlternateContent>
          </a:graphicData>
        </a:graphic>
      </p:graphicFrame>
      <p:sp>
        <p:nvSpPr>
          <p:cNvPr id="31" name="Rectangle 30">
            <a:extLst/>
          </p:cNvPr>
          <p:cNvSpPr/>
          <p:nvPr/>
        </p:nvSpPr>
        <p:spPr bwMode="auto">
          <a:xfrm>
            <a:off x="9027111" y="1432280"/>
            <a:ext cx="1494041" cy="1494041"/>
          </a:xfrm>
          <a:prstGeom prst="rect">
            <a:avLst/>
          </a:prstGeom>
          <a:noFill/>
          <a:ln w="19050">
            <a:solidFill>
              <a:srgbClr val="59B3D8"/>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9B3D8"/>
                </a:solidFill>
                <a:latin typeface="Segoe UI Semibold" panose="020B0702040204020203" pitchFamily="34" charset="0"/>
                <a:ea typeface="Segoe UI" panose="020B0502040204020203" pitchFamily="34" charset="0"/>
                <a:cs typeface="Segoe UI Semibold" panose="020B0702040204020203" pitchFamily="34" charset="0"/>
              </a:rPr>
              <a:t>VNet1</a:t>
            </a:r>
          </a:p>
        </p:txBody>
      </p:sp>
      <p:grpSp>
        <p:nvGrpSpPr>
          <p:cNvPr id="32" name="Group 31">
            <a:extLst/>
          </p:cNvPr>
          <p:cNvGrpSpPr/>
          <p:nvPr/>
        </p:nvGrpSpPr>
        <p:grpSpPr>
          <a:xfrm>
            <a:off x="4451593" y="1895234"/>
            <a:ext cx="4575518" cy="547476"/>
            <a:chOff x="4540856" y="1664049"/>
            <a:chExt cx="4667267" cy="558454"/>
          </a:xfrm>
        </p:grpSpPr>
        <p:cxnSp>
          <p:nvCxnSpPr>
            <p:cNvPr id="33" name="Straight Arrow Connector 32">
              <a:extLst/>
            </p:cNvPr>
            <p:cNvCxnSpPr>
              <a:cxnSpLocks/>
              <a:endCxn id="31" idx="1"/>
            </p:cNvCxnSpPr>
            <p:nvPr/>
          </p:nvCxnSpPr>
          <p:spPr>
            <a:xfrm>
              <a:off x="4540856" y="2222503"/>
              <a:ext cx="4667267" cy="0"/>
            </a:xfrm>
            <a:prstGeom prst="straightConnector1">
              <a:avLst/>
            </a:prstGeom>
            <a:ln w="38100">
              <a:solidFill>
                <a:srgbClr val="A379AE"/>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p:cNvPr>
            <p:cNvSpPr/>
            <p:nvPr/>
          </p:nvSpPr>
          <p:spPr>
            <a:xfrm>
              <a:off x="6267940" y="1664049"/>
              <a:ext cx="1203795" cy="278760"/>
            </a:xfrm>
            <a:prstGeom prst="rect">
              <a:avLst/>
            </a:prstGeom>
          </p:spPr>
          <p:txBody>
            <a:bodyPr wrap="none">
              <a:spAutoFit/>
            </a:bodyPr>
            <a:lstStyle/>
            <a:p>
              <a:pPr algn="ctr" defTabSz="914367"/>
              <a:r>
                <a:rPr lang="en-US" sz="1176" b="1" dirty="0" err="1">
                  <a:solidFill>
                    <a:srgbClr val="A379AE"/>
                  </a:solidFill>
                  <a:latin typeface="Segoe UI"/>
                </a:rPr>
                <a:t>VNet</a:t>
              </a:r>
              <a:r>
                <a:rPr lang="en-US" sz="1176" b="1" dirty="0">
                  <a:solidFill>
                    <a:srgbClr val="A379AE"/>
                  </a:solidFill>
                  <a:latin typeface="Segoe UI"/>
                </a:rPr>
                <a:t>-to-</a:t>
              </a:r>
              <a:r>
                <a:rPr lang="en-US" sz="1176" b="1" dirty="0" err="1">
                  <a:solidFill>
                    <a:srgbClr val="A379AE"/>
                  </a:solidFill>
                  <a:latin typeface="Segoe UI"/>
                </a:rPr>
                <a:t>VNet</a:t>
              </a:r>
              <a:endParaRPr lang="en-US" sz="1176" dirty="0">
                <a:solidFill>
                  <a:srgbClr val="A379AE"/>
                </a:solidFill>
                <a:latin typeface="Segoe UI"/>
              </a:endParaRPr>
            </a:p>
          </p:txBody>
        </p:sp>
      </p:grpSp>
      <p:grpSp>
        <p:nvGrpSpPr>
          <p:cNvPr id="35" name="Group 34">
            <a:extLst/>
          </p:cNvPr>
          <p:cNvGrpSpPr/>
          <p:nvPr/>
        </p:nvGrpSpPr>
        <p:grpSpPr>
          <a:xfrm>
            <a:off x="4721621" y="3276924"/>
            <a:ext cx="1944107" cy="452590"/>
            <a:chOff x="4816299" y="3073444"/>
            <a:chExt cx="1983090" cy="461665"/>
          </a:xfrm>
        </p:grpSpPr>
        <p:sp>
          <p:nvSpPr>
            <p:cNvPr id="36" name="TextBox 35">
              <a:extLst/>
            </p:cNvPr>
            <p:cNvSpPr txBox="1"/>
            <p:nvPr/>
          </p:nvSpPr>
          <p:spPr>
            <a:xfrm>
              <a:off x="5126726" y="3073444"/>
              <a:ext cx="1672663" cy="461665"/>
            </a:xfrm>
            <a:prstGeom prst="rect">
              <a:avLst/>
            </a:prstGeom>
            <a:noFill/>
          </p:spPr>
          <p:txBody>
            <a:bodyPr wrap="square" rtlCol="0">
              <a:spAutoFit/>
            </a:bodyPr>
            <a:lstStyle/>
            <a:p>
              <a:pPr defTabSz="914367"/>
              <a:r>
                <a:rPr lang="en-US" sz="1176" b="1" dirty="0">
                  <a:solidFill>
                    <a:srgbClr val="66C491"/>
                  </a:solidFill>
                  <a:latin typeface="Segoe UI" panose="020B0502040204020203" pitchFamily="34" charset="0"/>
                  <a:cs typeface="Segoe UI" panose="020B0502040204020203" pitchFamily="34" charset="0"/>
                </a:rPr>
                <a:t>Network isolation </a:t>
              </a:r>
              <a:r>
                <a:rPr lang="en-US" sz="1176" dirty="0">
                  <a:solidFill>
                    <a:srgbClr val="66C491"/>
                  </a:solidFill>
                  <a:latin typeface="Segoe UI"/>
                </a:rPr>
                <a:t>(customer VNET)</a:t>
              </a:r>
            </a:p>
          </p:txBody>
        </p:sp>
        <p:cxnSp>
          <p:nvCxnSpPr>
            <p:cNvPr id="37" name="Straight Arrow Connector 36">
              <a:extLst/>
            </p:cNvPr>
            <p:cNvCxnSpPr>
              <a:cxnSpLocks/>
              <a:stCxn id="36" idx="1"/>
              <a:endCxn id="4" idx="3"/>
            </p:cNvCxnSpPr>
            <p:nvPr/>
          </p:nvCxnSpPr>
          <p:spPr>
            <a:xfrm flipH="1">
              <a:off x="4816299" y="3304277"/>
              <a:ext cx="310427" cy="76200"/>
            </a:xfrm>
            <a:prstGeom prst="straightConnector1">
              <a:avLst/>
            </a:prstGeom>
            <a:ln w="19050">
              <a:solidFill>
                <a:srgbClr val="66C49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8" name="Group 37">
            <a:extLst/>
          </p:cNvPr>
          <p:cNvGrpSpPr/>
          <p:nvPr/>
        </p:nvGrpSpPr>
        <p:grpSpPr>
          <a:xfrm>
            <a:off x="4451593" y="4293231"/>
            <a:ext cx="2241753" cy="452590"/>
            <a:chOff x="4540856" y="4110130"/>
            <a:chExt cx="2286705" cy="461665"/>
          </a:xfrm>
        </p:grpSpPr>
        <p:sp>
          <p:nvSpPr>
            <p:cNvPr id="39" name="TextBox 38">
              <a:extLst/>
            </p:cNvPr>
            <p:cNvSpPr txBox="1"/>
            <p:nvPr/>
          </p:nvSpPr>
          <p:spPr>
            <a:xfrm>
              <a:off x="5126726" y="4110130"/>
              <a:ext cx="1700835" cy="461665"/>
            </a:xfrm>
            <a:prstGeom prst="rect">
              <a:avLst/>
            </a:prstGeom>
            <a:noFill/>
          </p:spPr>
          <p:txBody>
            <a:bodyPr wrap="square" rtlCol="0">
              <a:spAutoFit/>
            </a:bodyPr>
            <a:lstStyle/>
            <a:p>
              <a:pPr defTabSz="914367"/>
              <a:r>
                <a:rPr lang="en-US" sz="1176" b="1" dirty="0">
                  <a:solidFill>
                    <a:srgbClr val="A379AE"/>
                  </a:solidFill>
                  <a:latin typeface="Segoe UI" panose="020B0502040204020203" pitchFamily="34" charset="0"/>
                  <a:cs typeface="Segoe UI" panose="020B0502040204020203" pitchFamily="34" charset="0"/>
                </a:rPr>
                <a:t>Tenant isolation</a:t>
              </a:r>
              <a:endParaRPr lang="sr-Cyrl-RS" sz="1176" b="1" dirty="0">
                <a:solidFill>
                  <a:srgbClr val="A379AE"/>
                </a:solidFill>
                <a:latin typeface="Segoe UI" panose="020B0502040204020203" pitchFamily="34" charset="0"/>
                <a:cs typeface="Segoe UI" panose="020B0502040204020203" pitchFamily="34" charset="0"/>
              </a:endParaRPr>
            </a:p>
            <a:p>
              <a:pPr defTabSz="914367"/>
              <a:r>
                <a:rPr lang="en-US" sz="1176" dirty="0">
                  <a:solidFill>
                    <a:srgbClr val="A379AE"/>
                  </a:solidFill>
                  <a:latin typeface="Segoe UI"/>
                </a:rPr>
                <a:t>(compute, storage)</a:t>
              </a:r>
            </a:p>
          </p:txBody>
        </p:sp>
        <p:cxnSp>
          <p:nvCxnSpPr>
            <p:cNvPr id="40" name="Straight Arrow Connector 39">
              <a:extLst/>
            </p:cNvPr>
            <p:cNvCxnSpPr>
              <a:cxnSpLocks/>
              <a:stCxn id="39" idx="1"/>
            </p:cNvCxnSpPr>
            <p:nvPr/>
          </p:nvCxnSpPr>
          <p:spPr>
            <a:xfrm flipH="1">
              <a:off x="4540856" y="4340963"/>
              <a:ext cx="585870" cy="0"/>
            </a:xfrm>
            <a:prstGeom prst="straightConnector1">
              <a:avLst/>
            </a:prstGeom>
            <a:ln w="19050">
              <a:solidFill>
                <a:srgbClr val="A379AE"/>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1" name="TextBox 40">
            <a:extLst/>
          </p:cNvPr>
          <p:cNvSpPr txBox="1"/>
          <p:nvPr/>
        </p:nvSpPr>
        <p:spPr>
          <a:xfrm>
            <a:off x="721294" y="5170017"/>
            <a:ext cx="3805963" cy="512935"/>
          </a:xfrm>
          <a:prstGeom prst="rect">
            <a:avLst/>
          </a:prstGeom>
          <a:noFill/>
        </p:spPr>
        <p:txBody>
          <a:bodyPr wrap="square" rtlCol="0">
            <a:spAutoFit/>
          </a:bodyPr>
          <a:lstStyle/>
          <a:p>
            <a:pPr algn="r" defTabSz="914367"/>
            <a:r>
              <a:rPr lang="en-US" sz="1372" b="1" dirty="0">
                <a:solidFill>
                  <a:srgbClr val="66C491"/>
                </a:solidFill>
                <a:latin typeface="Segoe UI"/>
              </a:rPr>
              <a:t>“</a:t>
            </a:r>
            <a:r>
              <a:rPr lang="en-US" sz="1372" b="1" dirty="0">
                <a:solidFill>
                  <a:srgbClr val="66C491"/>
                </a:solidFill>
                <a:latin typeface="Segoe UI" panose="020B0502040204020203" pitchFamily="34" charset="0"/>
                <a:cs typeface="Segoe UI" panose="020B0502040204020203" pitchFamily="34" charset="0"/>
              </a:rPr>
              <a:t>Virtual data cluster</a:t>
            </a:r>
            <a:r>
              <a:rPr lang="en-US" sz="1372" b="1" dirty="0">
                <a:solidFill>
                  <a:srgbClr val="66C491"/>
                </a:solidFill>
                <a:latin typeface="Segoe UI"/>
              </a:rPr>
              <a:t>” </a:t>
            </a:r>
            <a:r>
              <a:rPr lang="en-US" sz="1372" dirty="0">
                <a:solidFill>
                  <a:srgbClr val="D2D2D2">
                    <a:lumMod val="50000"/>
                  </a:srgbClr>
                </a:solidFill>
                <a:latin typeface="Segoe UI"/>
              </a:rPr>
              <a:t>dedicated to customer </a:t>
            </a:r>
          </a:p>
          <a:p>
            <a:pPr algn="r" defTabSz="914367"/>
            <a:r>
              <a:rPr lang="en-US" sz="1372" dirty="0">
                <a:solidFill>
                  <a:srgbClr val="D2D2D2">
                    <a:lumMod val="50000"/>
                  </a:srgbClr>
                </a:solidFill>
                <a:latin typeface="Segoe UI"/>
              </a:rPr>
              <a:t>(</a:t>
            </a:r>
            <a:r>
              <a:rPr lang="en-US" sz="1372" b="1" dirty="0">
                <a:solidFill>
                  <a:srgbClr val="D2D2D2">
                    <a:lumMod val="50000"/>
                  </a:srgbClr>
                </a:solidFill>
                <a:latin typeface="Segoe UI"/>
              </a:rPr>
              <a:t>virtual private cluster, VNET, private IPs</a:t>
            </a:r>
            <a:r>
              <a:rPr lang="en-US" sz="1372" dirty="0">
                <a:solidFill>
                  <a:srgbClr val="D2D2D2">
                    <a:lumMod val="50000"/>
                  </a:srgbClr>
                </a:solidFill>
                <a:latin typeface="Segoe UI"/>
              </a:rPr>
              <a:t>)</a:t>
            </a:r>
          </a:p>
        </p:txBody>
      </p:sp>
      <p:sp>
        <p:nvSpPr>
          <p:cNvPr id="42" name="TextBox 41">
            <a:extLst/>
          </p:cNvPr>
          <p:cNvSpPr txBox="1"/>
          <p:nvPr/>
        </p:nvSpPr>
        <p:spPr>
          <a:xfrm>
            <a:off x="10374877" y="1804716"/>
            <a:ext cx="1494042" cy="452590"/>
          </a:xfrm>
          <a:prstGeom prst="rect">
            <a:avLst/>
          </a:prstGeom>
          <a:noFill/>
        </p:spPr>
        <p:txBody>
          <a:bodyPr wrap="square" rtlCol="0">
            <a:spAutoFit/>
          </a:bodyPr>
          <a:lstStyle/>
          <a:p>
            <a:pPr algn="ctr" defTabSz="914367"/>
            <a:r>
              <a:rPr lang="en-US" sz="1176" dirty="0">
                <a:solidFill>
                  <a:srgbClr val="D2D2D2">
                    <a:lumMod val="50000"/>
                  </a:srgbClr>
                </a:solidFill>
                <a:latin typeface="Segoe UI"/>
              </a:rPr>
              <a:t>Web app</a:t>
            </a:r>
          </a:p>
          <a:p>
            <a:pPr algn="ctr" defTabSz="914367"/>
            <a:r>
              <a:rPr lang="en-US" sz="1176" dirty="0">
                <a:solidFill>
                  <a:srgbClr val="D2D2D2">
                    <a:lumMod val="50000"/>
                  </a:srgbClr>
                </a:solidFill>
                <a:latin typeface="Segoe UI"/>
              </a:rPr>
              <a:t>(</a:t>
            </a:r>
            <a:r>
              <a:rPr lang="en-US" sz="1176" b="1" dirty="0">
                <a:solidFill>
                  <a:srgbClr val="D2D2D2">
                    <a:lumMod val="50000"/>
                  </a:srgbClr>
                </a:solidFill>
                <a:latin typeface="Segoe UI"/>
              </a:rPr>
              <a:t>public IP</a:t>
            </a:r>
            <a:r>
              <a:rPr lang="en-US" sz="1176" dirty="0">
                <a:solidFill>
                  <a:srgbClr val="D2D2D2">
                    <a:lumMod val="50000"/>
                  </a:srgbClr>
                </a:solidFill>
                <a:latin typeface="Segoe UI"/>
              </a:rPr>
              <a:t>)</a:t>
            </a:r>
          </a:p>
        </p:txBody>
      </p:sp>
    </p:spTree>
    <p:extLst>
      <p:ext uri="{BB962C8B-B14F-4D97-AF65-F5344CB8AC3E}">
        <p14:creationId xmlns:p14="http://schemas.microsoft.com/office/powerpoint/2010/main" val="19162934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300"/>
                                  </p:stCondLst>
                                  <p:childTnLst>
                                    <p:set>
                                      <p:cBhvr>
                                        <p:cTn id="6" dur="1" fill="hold">
                                          <p:stCondLst>
                                            <p:cond delay="0"/>
                                          </p:stCondLst>
                                        </p:cTn>
                                        <p:tgtEl>
                                          <p:spTgt spid="38"/>
                                        </p:tgtEl>
                                        <p:attrNameLst>
                                          <p:attrName>style.visibility</p:attrName>
                                        </p:attrNameLst>
                                      </p:cBhvr>
                                      <p:to>
                                        <p:strVal val="visible"/>
                                      </p:to>
                                    </p:set>
                                    <p:animEffect transition="in" filter="wipe(right)">
                                      <p:cBhvr>
                                        <p:cTn id="7" dur="5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down)">
                                      <p:cBhvr>
                                        <p:cTn id="12" dur="500"/>
                                        <p:tgtEl>
                                          <p:spTgt spid="4"/>
                                        </p:tgtEl>
                                      </p:cBhvr>
                                    </p:animEffect>
                                  </p:childTnLst>
                                </p:cTn>
                              </p:par>
                              <p:par>
                                <p:cTn id="13" presetID="22" presetClass="entr" presetSubtype="2" fill="hold" nodeType="withEffect">
                                  <p:stCondLst>
                                    <p:cond delay="300"/>
                                  </p:stCondLst>
                                  <p:childTnLst>
                                    <p:set>
                                      <p:cBhvr>
                                        <p:cTn id="14" dur="1" fill="hold">
                                          <p:stCondLst>
                                            <p:cond delay="0"/>
                                          </p:stCondLst>
                                        </p:cTn>
                                        <p:tgtEl>
                                          <p:spTgt spid="35"/>
                                        </p:tgtEl>
                                        <p:attrNameLst>
                                          <p:attrName>style.visibility</p:attrName>
                                        </p:attrNameLst>
                                      </p:cBhvr>
                                      <p:to>
                                        <p:strVal val="visible"/>
                                      </p:to>
                                    </p:set>
                                    <p:animEffect transition="in" filter="wipe(right)">
                                      <p:cBhvr>
                                        <p:cTn id="15" dur="500"/>
                                        <p:tgtEl>
                                          <p:spTgt spid="35"/>
                                        </p:tgtEl>
                                      </p:cBhvr>
                                    </p:animEffect>
                                  </p:childTnLst>
                                </p:cTn>
                              </p:par>
                              <p:par>
                                <p:cTn id="16" presetID="22" presetClass="entr" presetSubtype="2" fill="hold" grpId="0" nodeType="withEffect">
                                  <p:stCondLst>
                                    <p:cond delay="300"/>
                                  </p:stCondLst>
                                  <p:childTnLst>
                                    <p:set>
                                      <p:cBhvr>
                                        <p:cTn id="17" dur="1" fill="hold">
                                          <p:stCondLst>
                                            <p:cond delay="0"/>
                                          </p:stCondLst>
                                        </p:cTn>
                                        <p:tgtEl>
                                          <p:spTgt spid="41"/>
                                        </p:tgtEl>
                                        <p:attrNameLst>
                                          <p:attrName>style.visibility</p:attrName>
                                        </p:attrNameLst>
                                      </p:cBhvr>
                                      <p:to>
                                        <p:strVal val="visible"/>
                                      </p:to>
                                    </p:set>
                                    <p:animEffect transition="in" filter="wipe(right)">
                                      <p:cBhvr>
                                        <p:cTn id="18" dur="500"/>
                                        <p:tgtEl>
                                          <p:spTgt spid="4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par>
                                <p:cTn id="24" presetID="22" presetClass="entr" presetSubtype="2" fill="hold" grpId="0" nodeType="with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wipe(right)">
                                      <p:cBhvr>
                                        <p:cTn id="26" dur="500"/>
                                        <p:tgtEl>
                                          <p:spTgt spid="19"/>
                                        </p:tgtEl>
                                      </p:cBhvr>
                                    </p:animEffect>
                                  </p:childTnLst>
                                </p:cTn>
                              </p:par>
                              <p:par>
                                <p:cTn id="27" presetID="22" presetClass="entr" presetSubtype="2" fill="hold" nodeType="withEffect">
                                  <p:stCondLst>
                                    <p:cond delay="200"/>
                                  </p:stCondLst>
                                  <p:childTnLst>
                                    <p:set>
                                      <p:cBhvr>
                                        <p:cTn id="28" dur="1" fill="hold">
                                          <p:stCondLst>
                                            <p:cond delay="0"/>
                                          </p:stCondLst>
                                        </p:cTn>
                                        <p:tgtEl>
                                          <p:spTgt spid="14"/>
                                        </p:tgtEl>
                                        <p:attrNameLst>
                                          <p:attrName>style.visibility</p:attrName>
                                        </p:attrNameLst>
                                      </p:cBhvr>
                                      <p:to>
                                        <p:strVal val="visible"/>
                                      </p:to>
                                    </p:set>
                                    <p:animEffect transition="in" filter="wipe(right)">
                                      <p:cBhvr>
                                        <p:cTn id="29" dur="300"/>
                                        <p:tgtEl>
                                          <p:spTgt spid="14"/>
                                        </p:tgtEl>
                                      </p:cBhvr>
                                    </p:animEffect>
                                  </p:childTnLst>
                                </p:cTn>
                              </p:par>
                              <p:par>
                                <p:cTn id="30" presetID="22" presetClass="entr" presetSubtype="2" fill="hold" nodeType="withEffect">
                                  <p:stCondLst>
                                    <p:cond delay="500"/>
                                  </p:stCondLst>
                                  <p:childTnLst>
                                    <p:set>
                                      <p:cBhvr>
                                        <p:cTn id="31" dur="1" fill="hold">
                                          <p:stCondLst>
                                            <p:cond delay="0"/>
                                          </p:stCondLst>
                                        </p:cTn>
                                        <p:tgtEl>
                                          <p:spTgt spid="17"/>
                                        </p:tgtEl>
                                        <p:attrNameLst>
                                          <p:attrName>style.visibility</p:attrName>
                                        </p:attrNameLst>
                                      </p:cBhvr>
                                      <p:to>
                                        <p:strVal val="visible"/>
                                      </p:to>
                                    </p:set>
                                    <p:animEffect transition="in" filter="wipe(right)">
                                      <p:cBhvr>
                                        <p:cTn id="32" dur="500"/>
                                        <p:tgtEl>
                                          <p:spTgt spid="17"/>
                                        </p:tgtEl>
                                      </p:cBhvr>
                                    </p:animEffect>
                                  </p:childTnLst>
                                </p:cTn>
                              </p:par>
                              <p:par>
                                <p:cTn id="33" presetID="22" presetClass="entr" presetSubtype="2" fill="hold" grpId="0" nodeType="withEffect">
                                  <p:stCondLst>
                                    <p:cond delay="500"/>
                                  </p:stCondLst>
                                  <p:childTnLst>
                                    <p:set>
                                      <p:cBhvr>
                                        <p:cTn id="34" dur="1" fill="hold">
                                          <p:stCondLst>
                                            <p:cond delay="0"/>
                                          </p:stCondLst>
                                        </p:cTn>
                                        <p:tgtEl>
                                          <p:spTgt spid="16"/>
                                        </p:tgtEl>
                                        <p:attrNameLst>
                                          <p:attrName>style.visibility</p:attrName>
                                        </p:attrNameLst>
                                      </p:cBhvr>
                                      <p:to>
                                        <p:strVal val="visible"/>
                                      </p:to>
                                    </p:set>
                                    <p:animEffect transition="in" filter="wipe(right)">
                                      <p:cBhvr>
                                        <p:cTn id="35" dur="500"/>
                                        <p:tgtEl>
                                          <p:spTgt spid="16"/>
                                        </p:tgtEl>
                                      </p:cBhvr>
                                    </p:animEffect>
                                  </p:childTnLst>
                                </p:cTn>
                              </p:par>
                              <p:par>
                                <p:cTn id="36" presetID="22" presetClass="entr" presetSubtype="2" fill="hold" nodeType="withEffect">
                                  <p:stCondLst>
                                    <p:cond delay="700"/>
                                  </p:stCondLst>
                                  <p:childTnLst>
                                    <p:set>
                                      <p:cBhvr>
                                        <p:cTn id="37" dur="1" fill="hold">
                                          <p:stCondLst>
                                            <p:cond delay="0"/>
                                          </p:stCondLst>
                                        </p:cTn>
                                        <p:tgtEl>
                                          <p:spTgt spid="15"/>
                                        </p:tgtEl>
                                        <p:attrNameLst>
                                          <p:attrName>style.visibility</p:attrName>
                                        </p:attrNameLst>
                                      </p:cBhvr>
                                      <p:to>
                                        <p:strVal val="visible"/>
                                      </p:to>
                                    </p:set>
                                    <p:animEffect transition="in" filter="wipe(right)">
                                      <p:cBhvr>
                                        <p:cTn id="38" dur="300"/>
                                        <p:tgtEl>
                                          <p:spTgt spid="15"/>
                                        </p:tgtEl>
                                      </p:cBhvr>
                                    </p:animEffect>
                                  </p:childTnLst>
                                </p:cTn>
                              </p:par>
                              <p:par>
                                <p:cTn id="39" presetID="10" presetClass="entr" presetSubtype="0" fill="hold" nodeType="withEffect">
                                  <p:stCondLst>
                                    <p:cond delay="100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par>
                                <p:cTn id="42" presetID="22" presetClass="entr" presetSubtype="2" fill="hold" grpId="0" nodeType="withEffect">
                                  <p:stCondLst>
                                    <p:cond delay="1000"/>
                                  </p:stCondLst>
                                  <p:childTnLst>
                                    <p:set>
                                      <p:cBhvr>
                                        <p:cTn id="43" dur="1" fill="hold">
                                          <p:stCondLst>
                                            <p:cond delay="0"/>
                                          </p:stCondLst>
                                        </p:cTn>
                                        <p:tgtEl>
                                          <p:spTgt spid="20"/>
                                        </p:tgtEl>
                                        <p:attrNameLst>
                                          <p:attrName>style.visibility</p:attrName>
                                        </p:attrNameLst>
                                      </p:cBhvr>
                                      <p:to>
                                        <p:strVal val="visible"/>
                                      </p:to>
                                    </p:set>
                                    <p:animEffect transition="in" filter="wipe(right)">
                                      <p:cBhvr>
                                        <p:cTn id="44" dur="500"/>
                                        <p:tgtEl>
                                          <p:spTgt spid="20"/>
                                        </p:tgtEl>
                                      </p:cBhvr>
                                    </p:animEffect>
                                  </p:childTnLst>
                                </p:cTn>
                              </p:par>
                              <p:par>
                                <p:cTn id="45" presetID="22" presetClass="entr" presetSubtype="2" fill="hold" nodeType="withEffect">
                                  <p:stCondLst>
                                    <p:cond delay="1200"/>
                                  </p:stCondLst>
                                  <p:childTnLst>
                                    <p:set>
                                      <p:cBhvr>
                                        <p:cTn id="46" dur="1" fill="hold">
                                          <p:stCondLst>
                                            <p:cond delay="0"/>
                                          </p:stCondLst>
                                        </p:cTn>
                                        <p:tgtEl>
                                          <p:spTgt spid="22"/>
                                        </p:tgtEl>
                                        <p:attrNameLst>
                                          <p:attrName>style.visibility</p:attrName>
                                        </p:attrNameLst>
                                      </p:cBhvr>
                                      <p:to>
                                        <p:strVal val="visible"/>
                                      </p:to>
                                    </p:set>
                                    <p:animEffect transition="in" filter="wipe(right)">
                                      <p:cBhvr>
                                        <p:cTn id="47" dur="500"/>
                                        <p:tgtEl>
                                          <p:spTgt spid="2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par>
                                <p:cTn id="53" presetID="10" presetClass="entr" presetSubtype="0" fill="hold" nodeType="withEffect">
                                  <p:stCondLst>
                                    <p:cond delay="200"/>
                                  </p:stCondLst>
                                  <p:childTnLst>
                                    <p:set>
                                      <p:cBhvr>
                                        <p:cTn id="54" dur="1" fill="hold">
                                          <p:stCondLst>
                                            <p:cond delay="0"/>
                                          </p:stCondLst>
                                        </p:cTn>
                                        <p:tgtEl>
                                          <p:spTgt spid="12"/>
                                        </p:tgtEl>
                                        <p:attrNameLst>
                                          <p:attrName>style.visibility</p:attrName>
                                        </p:attrNameLst>
                                      </p:cBhvr>
                                      <p:to>
                                        <p:strVal val="visible"/>
                                      </p:to>
                                    </p:set>
                                    <p:animEffect transition="in" filter="fade">
                                      <p:cBhvr>
                                        <p:cTn id="55" dur="500"/>
                                        <p:tgtEl>
                                          <p:spTgt spid="12"/>
                                        </p:tgtEl>
                                      </p:cBhvr>
                                    </p:animEffect>
                                  </p:childTnLst>
                                </p:cTn>
                              </p:par>
                              <p:par>
                                <p:cTn id="56" presetID="10" presetClass="entr" presetSubtype="0" fill="hold" nodeType="withEffect">
                                  <p:stCondLst>
                                    <p:cond delay="400"/>
                                  </p:stCondLst>
                                  <p:childTnLst>
                                    <p:set>
                                      <p:cBhvr>
                                        <p:cTn id="57" dur="1" fill="hold">
                                          <p:stCondLst>
                                            <p:cond delay="0"/>
                                          </p:stCondLst>
                                        </p:cTn>
                                        <p:tgtEl>
                                          <p:spTgt spid="11"/>
                                        </p:tgtEl>
                                        <p:attrNameLst>
                                          <p:attrName>style.visibility</p:attrName>
                                        </p:attrNameLst>
                                      </p:cBhvr>
                                      <p:to>
                                        <p:strVal val="visible"/>
                                      </p:to>
                                    </p:set>
                                    <p:animEffect transition="in" filter="fade">
                                      <p:cBhvr>
                                        <p:cTn id="58" dur="500"/>
                                        <p:tgtEl>
                                          <p:spTgt spid="11"/>
                                        </p:tgtEl>
                                      </p:cBhvr>
                                    </p:animEffect>
                                  </p:childTnLst>
                                </p:cTn>
                              </p:par>
                              <p:par>
                                <p:cTn id="59" presetID="10" presetClass="entr" presetSubtype="0" fill="hold" nodeType="withEffect">
                                  <p:stCondLst>
                                    <p:cond delay="600"/>
                                  </p:stCondLst>
                                  <p:childTnLst>
                                    <p:set>
                                      <p:cBhvr>
                                        <p:cTn id="60" dur="1" fill="hold">
                                          <p:stCondLst>
                                            <p:cond delay="0"/>
                                          </p:stCondLst>
                                        </p:cTn>
                                        <p:tgtEl>
                                          <p:spTgt spid="10"/>
                                        </p:tgtEl>
                                        <p:attrNameLst>
                                          <p:attrName>style.visibility</p:attrName>
                                        </p:attrNameLst>
                                      </p:cBhvr>
                                      <p:to>
                                        <p:strVal val="visible"/>
                                      </p:to>
                                    </p:set>
                                    <p:animEffect transition="in" filter="fade">
                                      <p:cBhvr>
                                        <p:cTn id="61" dur="500"/>
                                        <p:tgtEl>
                                          <p:spTgt spid="10"/>
                                        </p:tgtEl>
                                      </p:cBhvr>
                                    </p:animEffect>
                                  </p:childTnLst>
                                </p:cTn>
                              </p:par>
                              <p:par>
                                <p:cTn id="62" presetID="10" presetClass="entr" presetSubtype="0" fill="hold" nodeType="withEffect">
                                  <p:stCondLst>
                                    <p:cond delay="800"/>
                                  </p:stCondLst>
                                  <p:childTnLst>
                                    <p:set>
                                      <p:cBhvr>
                                        <p:cTn id="63" dur="1" fill="hold">
                                          <p:stCondLst>
                                            <p:cond delay="0"/>
                                          </p:stCondLst>
                                        </p:cTn>
                                        <p:tgtEl>
                                          <p:spTgt spid="9"/>
                                        </p:tgtEl>
                                        <p:attrNameLst>
                                          <p:attrName>style.visibility</p:attrName>
                                        </p:attrNameLst>
                                      </p:cBhvr>
                                      <p:to>
                                        <p:strVal val="visible"/>
                                      </p:to>
                                    </p:set>
                                    <p:animEffect transition="in" filter="fade">
                                      <p:cBhvr>
                                        <p:cTn id="64" dur="500"/>
                                        <p:tgtEl>
                                          <p:spTgt spid="9"/>
                                        </p:tgtEl>
                                      </p:cBhvr>
                                    </p:animEffect>
                                  </p:childTnLst>
                                </p:cTn>
                              </p:par>
                              <p:par>
                                <p:cTn id="65" presetID="22" presetClass="entr" presetSubtype="4" fill="hold" grpId="0" nodeType="withEffect">
                                  <p:stCondLst>
                                    <p:cond delay="800"/>
                                  </p:stCondLst>
                                  <p:childTnLst>
                                    <p:set>
                                      <p:cBhvr>
                                        <p:cTn id="66" dur="1" fill="hold">
                                          <p:stCondLst>
                                            <p:cond delay="0"/>
                                          </p:stCondLst>
                                        </p:cTn>
                                        <p:tgtEl>
                                          <p:spTgt spid="6"/>
                                        </p:tgtEl>
                                        <p:attrNameLst>
                                          <p:attrName>style.visibility</p:attrName>
                                        </p:attrNameLst>
                                      </p:cBhvr>
                                      <p:to>
                                        <p:strVal val="visible"/>
                                      </p:to>
                                    </p:set>
                                    <p:animEffect transition="in" filter="wipe(down)">
                                      <p:cBhvr>
                                        <p:cTn id="67" dur="500"/>
                                        <p:tgtEl>
                                          <p:spTgt spid="6"/>
                                        </p:tgtEl>
                                      </p:cBhvr>
                                    </p:animEffect>
                                  </p:childTnLst>
                                </p:cTn>
                              </p:par>
                              <p:par>
                                <p:cTn id="68" presetID="22" presetClass="entr" presetSubtype="4" fill="hold" grpId="0" nodeType="withEffect">
                                  <p:stCondLst>
                                    <p:cond delay="1200"/>
                                  </p:stCondLst>
                                  <p:childTnLst>
                                    <p:set>
                                      <p:cBhvr>
                                        <p:cTn id="69" dur="1" fill="hold">
                                          <p:stCondLst>
                                            <p:cond delay="0"/>
                                          </p:stCondLst>
                                        </p:cTn>
                                        <p:tgtEl>
                                          <p:spTgt spid="31"/>
                                        </p:tgtEl>
                                        <p:attrNameLst>
                                          <p:attrName>style.visibility</p:attrName>
                                        </p:attrNameLst>
                                      </p:cBhvr>
                                      <p:to>
                                        <p:strVal val="visible"/>
                                      </p:to>
                                    </p:set>
                                    <p:animEffect transition="in" filter="wipe(down)">
                                      <p:cBhvr>
                                        <p:cTn id="70" dur="800"/>
                                        <p:tgtEl>
                                          <p:spTgt spid="31"/>
                                        </p:tgtEl>
                                      </p:cBhvr>
                                    </p:animEffect>
                                  </p:childTnLst>
                                </p:cTn>
                              </p:par>
                              <p:par>
                                <p:cTn id="71" presetID="10" presetClass="entr" presetSubtype="0" fill="hold" grpId="0" nodeType="withEffect">
                                  <p:stCondLst>
                                    <p:cond delay="140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childTnLst>
                                </p:cTn>
                              </p:par>
                              <p:par>
                                <p:cTn id="74" presetID="10" presetClass="entr" presetSubtype="0" fill="hold" nodeType="withEffect">
                                  <p:stCondLst>
                                    <p:cond delay="140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600"/>
                                        <p:tgtEl>
                                          <p:spTgt spid="30"/>
                                        </p:tgtEl>
                                      </p:cBhvr>
                                    </p:animEffect>
                                  </p:childTnLst>
                                </p:cTn>
                              </p:par>
                              <p:par>
                                <p:cTn id="77" presetID="22" presetClass="entr" presetSubtype="2" fill="hold" nodeType="withEffect">
                                  <p:stCondLst>
                                    <p:cond delay="1800"/>
                                  </p:stCondLst>
                                  <p:childTnLst>
                                    <p:set>
                                      <p:cBhvr>
                                        <p:cTn id="78" dur="1" fill="hold">
                                          <p:stCondLst>
                                            <p:cond delay="0"/>
                                          </p:stCondLst>
                                        </p:cTn>
                                        <p:tgtEl>
                                          <p:spTgt spid="26"/>
                                        </p:tgtEl>
                                        <p:attrNameLst>
                                          <p:attrName>style.visibility</p:attrName>
                                        </p:attrNameLst>
                                      </p:cBhvr>
                                      <p:to>
                                        <p:strVal val="visible"/>
                                      </p:to>
                                    </p:set>
                                    <p:animEffect transition="in" filter="wipe(right)">
                                      <p:cBhvr>
                                        <p:cTn id="79" dur="500"/>
                                        <p:tgtEl>
                                          <p:spTgt spid="26"/>
                                        </p:tgtEl>
                                      </p:cBhvr>
                                    </p:animEffect>
                                  </p:childTnLst>
                                </p:cTn>
                              </p:par>
                              <p:par>
                                <p:cTn id="80" presetID="22" presetClass="entr" presetSubtype="2" fill="hold" nodeType="withEffect">
                                  <p:stCondLst>
                                    <p:cond delay="1800"/>
                                  </p:stCondLst>
                                  <p:childTnLst>
                                    <p:set>
                                      <p:cBhvr>
                                        <p:cTn id="81" dur="1" fill="hold">
                                          <p:stCondLst>
                                            <p:cond delay="0"/>
                                          </p:stCondLst>
                                        </p:cTn>
                                        <p:tgtEl>
                                          <p:spTgt spid="27"/>
                                        </p:tgtEl>
                                        <p:attrNameLst>
                                          <p:attrName>style.visibility</p:attrName>
                                        </p:attrNameLst>
                                      </p:cBhvr>
                                      <p:to>
                                        <p:strVal val="visible"/>
                                      </p:to>
                                    </p:set>
                                    <p:animEffect transition="in" filter="wipe(right)">
                                      <p:cBhvr>
                                        <p:cTn id="82" dur="500"/>
                                        <p:tgtEl>
                                          <p:spTgt spid="27"/>
                                        </p:tgtEl>
                                      </p:cBhvr>
                                    </p:animEffect>
                                  </p:childTnLst>
                                </p:cTn>
                              </p:par>
                              <p:par>
                                <p:cTn id="83" presetID="16" presetClass="entr" presetSubtype="37" fill="hold" nodeType="withEffect">
                                  <p:stCondLst>
                                    <p:cond delay="1800"/>
                                  </p:stCondLst>
                                  <p:childTnLst>
                                    <p:set>
                                      <p:cBhvr>
                                        <p:cTn id="84" dur="1" fill="hold">
                                          <p:stCondLst>
                                            <p:cond delay="0"/>
                                          </p:stCondLst>
                                        </p:cTn>
                                        <p:tgtEl>
                                          <p:spTgt spid="32"/>
                                        </p:tgtEl>
                                        <p:attrNameLst>
                                          <p:attrName>style.visibility</p:attrName>
                                        </p:attrNameLst>
                                      </p:cBhvr>
                                      <p:to>
                                        <p:strVal val="visible"/>
                                      </p:to>
                                    </p:set>
                                    <p:animEffect transition="in" filter="barn(outVertical)">
                                      <p:cBhvr>
                                        <p:cTn id="85" dur="500"/>
                                        <p:tgtEl>
                                          <p:spTgt spid="32"/>
                                        </p:tgtEl>
                                      </p:cBhvr>
                                    </p:animEffect>
                                  </p:childTnLst>
                                </p:cTn>
                              </p:par>
                              <p:par>
                                <p:cTn id="86" presetID="22" presetClass="entr" presetSubtype="2" fill="hold" nodeType="withEffect">
                                  <p:stCondLst>
                                    <p:cond delay="1800"/>
                                  </p:stCondLst>
                                  <p:childTnLst>
                                    <p:set>
                                      <p:cBhvr>
                                        <p:cTn id="87" dur="1" fill="hold">
                                          <p:stCondLst>
                                            <p:cond delay="0"/>
                                          </p:stCondLst>
                                        </p:cTn>
                                        <p:tgtEl>
                                          <p:spTgt spid="28"/>
                                        </p:tgtEl>
                                        <p:attrNameLst>
                                          <p:attrName>style.visibility</p:attrName>
                                        </p:attrNameLst>
                                      </p:cBhvr>
                                      <p:to>
                                        <p:strVal val="visible"/>
                                      </p:to>
                                    </p:set>
                                    <p:animEffect transition="in" filter="wipe(right)">
                                      <p:cBhvr>
                                        <p:cTn id="88"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16" grpId="0"/>
      <p:bldP spid="19" grpId="0"/>
      <p:bldP spid="20" grpId="0" animBg="1"/>
      <p:bldP spid="31" grpId="0" animBg="1"/>
      <p:bldP spid="41" grpId="0"/>
      <p:bldP spid="4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cap="small" spc="500" dirty="0">
                <a:solidFill>
                  <a:schemeClr val="tx1"/>
                </a:solidFill>
                <a:latin typeface="Segoe UI Semilight" charset="0"/>
                <a:cs typeface="Segoe UI Semilight" charset="0"/>
              </a:rPr>
              <a:t>Nearly 100% compatibility with SQL server</a:t>
            </a:r>
          </a:p>
        </p:txBody>
      </p:sp>
      <p:pic>
        <p:nvPicPr>
          <p:cNvPr id="7" name="Picture 6">
            <a:extLst>
              <a:ext uri="{FF2B5EF4-FFF2-40B4-BE49-F238E27FC236}">
                <a16:creationId xmlns:a16="http://schemas.microsoft.com/office/drawing/2014/main" id="{475E2817-7815-4AC7-A189-D6499E36C568}"/>
              </a:ext>
            </a:extLst>
          </p:cNvPr>
          <p:cNvPicPr>
            <a:picLocks noChangeAspect="1"/>
          </p:cNvPicPr>
          <p:nvPr/>
        </p:nvPicPr>
        <p:blipFill>
          <a:blip r:embed="rId3"/>
          <a:stretch>
            <a:fillRect/>
          </a:stretch>
        </p:blipFill>
        <p:spPr>
          <a:xfrm>
            <a:off x="269239" y="2009661"/>
            <a:ext cx="5696033" cy="812385"/>
          </a:xfrm>
          <a:prstGeom prst="rect">
            <a:avLst/>
          </a:prstGeom>
        </p:spPr>
      </p:pic>
      <p:pic>
        <p:nvPicPr>
          <p:cNvPr id="8" name="Picture 7">
            <a:extLst>
              <a:ext uri="{FF2B5EF4-FFF2-40B4-BE49-F238E27FC236}">
                <a16:creationId xmlns:a16="http://schemas.microsoft.com/office/drawing/2014/main" id="{F2C91836-66BB-4958-9842-8EE00B2D6A95}"/>
              </a:ext>
            </a:extLst>
          </p:cNvPr>
          <p:cNvPicPr>
            <a:picLocks noChangeAspect="1"/>
          </p:cNvPicPr>
          <p:nvPr/>
        </p:nvPicPr>
        <p:blipFill>
          <a:blip r:embed="rId4"/>
          <a:stretch>
            <a:fillRect/>
          </a:stretch>
        </p:blipFill>
        <p:spPr>
          <a:xfrm>
            <a:off x="269239" y="2822046"/>
            <a:ext cx="5696033" cy="1699472"/>
          </a:xfrm>
          <a:prstGeom prst="rect">
            <a:avLst/>
          </a:prstGeom>
        </p:spPr>
      </p:pic>
      <p:pic>
        <p:nvPicPr>
          <p:cNvPr id="9" name="Picture 8">
            <a:extLst>
              <a:ext uri="{FF2B5EF4-FFF2-40B4-BE49-F238E27FC236}">
                <a16:creationId xmlns:a16="http://schemas.microsoft.com/office/drawing/2014/main" id="{D6A521C5-348D-477A-90CD-1D5AB5F19943}"/>
              </a:ext>
            </a:extLst>
          </p:cNvPr>
          <p:cNvPicPr>
            <a:picLocks noChangeAspect="1"/>
          </p:cNvPicPr>
          <p:nvPr/>
        </p:nvPicPr>
        <p:blipFill>
          <a:blip r:embed="rId5"/>
          <a:stretch>
            <a:fillRect/>
          </a:stretch>
        </p:blipFill>
        <p:spPr>
          <a:xfrm>
            <a:off x="269239" y="4509219"/>
            <a:ext cx="5696033" cy="1297948"/>
          </a:xfrm>
          <a:prstGeom prst="rect">
            <a:avLst/>
          </a:prstGeom>
        </p:spPr>
      </p:pic>
      <p:pic>
        <p:nvPicPr>
          <p:cNvPr id="10" name="Picture 9">
            <a:extLst>
              <a:ext uri="{FF2B5EF4-FFF2-40B4-BE49-F238E27FC236}">
                <a16:creationId xmlns:a16="http://schemas.microsoft.com/office/drawing/2014/main" id="{4EAED951-340A-4B52-A949-5FE24BEB7334}"/>
              </a:ext>
            </a:extLst>
          </p:cNvPr>
          <p:cNvPicPr>
            <a:picLocks noChangeAspect="1"/>
          </p:cNvPicPr>
          <p:nvPr/>
        </p:nvPicPr>
        <p:blipFill rotWithShape="1">
          <a:blip r:embed="rId6"/>
          <a:srcRect t="1" b="2247"/>
          <a:stretch/>
        </p:blipFill>
        <p:spPr>
          <a:xfrm>
            <a:off x="5937259" y="2018999"/>
            <a:ext cx="6060205" cy="812385"/>
          </a:xfrm>
          <a:prstGeom prst="rect">
            <a:avLst/>
          </a:prstGeom>
        </p:spPr>
      </p:pic>
      <p:pic>
        <p:nvPicPr>
          <p:cNvPr id="11" name="Picture 10">
            <a:extLst>
              <a:ext uri="{FF2B5EF4-FFF2-40B4-BE49-F238E27FC236}">
                <a16:creationId xmlns:a16="http://schemas.microsoft.com/office/drawing/2014/main" id="{C94B1D5D-E4EF-4EC9-8C6C-5BD6C38454B5}"/>
              </a:ext>
            </a:extLst>
          </p:cNvPr>
          <p:cNvPicPr>
            <a:picLocks noChangeAspect="1"/>
          </p:cNvPicPr>
          <p:nvPr/>
        </p:nvPicPr>
        <p:blipFill>
          <a:blip r:embed="rId7"/>
          <a:stretch>
            <a:fillRect/>
          </a:stretch>
        </p:blipFill>
        <p:spPr>
          <a:xfrm>
            <a:off x="5956330" y="2831383"/>
            <a:ext cx="6013516" cy="1718148"/>
          </a:xfrm>
          <a:prstGeom prst="rect">
            <a:avLst/>
          </a:prstGeom>
        </p:spPr>
      </p:pic>
      <p:pic>
        <p:nvPicPr>
          <p:cNvPr id="12" name="Picture 11">
            <a:extLst>
              <a:ext uri="{FF2B5EF4-FFF2-40B4-BE49-F238E27FC236}">
                <a16:creationId xmlns:a16="http://schemas.microsoft.com/office/drawing/2014/main" id="{6499FC3B-7DED-4AEF-8DD2-C64D16707FD0}"/>
              </a:ext>
            </a:extLst>
          </p:cNvPr>
          <p:cNvPicPr>
            <a:picLocks noChangeAspect="1"/>
          </p:cNvPicPr>
          <p:nvPr/>
        </p:nvPicPr>
        <p:blipFill rotWithShape="1">
          <a:blip r:embed="rId8"/>
          <a:srcRect t="4226"/>
          <a:stretch/>
        </p:blipFill>
        <p:spPr>
          <a:xfrm>
            <a:off x="5993681" y="4549531"/>
            <a:ext cx="6013516" cy="1269935"/>
          </a:xfrm>
          <a:prstGeom prst="rect">
            <a:avLst/>
          </a:prstGeom>
        </p:spPr>
      </p:pic>
      <p:sp>
        <p:nvSpPr>
          <p:cNvPr id="15" name="TextBox 14">
            <a:extLst>
              <a:ext uri="{FF2B5EF4-FFF2-40B4-BE49-F238E27FC236}">
                <a16:creationId xmlns:a16="http://schemas.microsoft.com/office/drawing/2014/main" id="{E49CB526-1F1F-4F23-9CEC-C1AF44938F93}"/>
              </a:ext>
            </a:extLst>
          </p:cNvPr>
          <p:cNvSpPr txBox="1"/>
          <p:nvPr/>
        </p:nvSpPr>
        <p:spPr>
          <a:xfrm>
            <a:off x="269239" y="5968870"/>
            <a:ext cx="10248881" cy="615516"/>
          </a:xfrm>
          <a:prstGeom prst="rect">
            <a:avLst/>
          </a:prstGeom>
          <a:noFill/>
        </p:spPr>
        <p:txBody>
          <a:bodyPr wrap="none" lIns="179285" tIns="143428" rIns="179285" bIns="143428" rtlCol="0">
            <a:spAutoFit/>
          </a:bodyPr>
          <a:lstStyle/>
          <a:p>
            <a:pPr>
              <a:lnSpc>
                <a:spcPct val="90000"/>
              </a:lnSpc>
              <a:spcAft>
                <a:spcPts val="588"/>
              </a:spcAft>
            </a:pPr>
            <a:r>
              <a:rPr lang="en-US" sz="2353" dirty="0">
                <a:solidFill>
                  <a:schemeClr val="bg1"/>
                </a:solidFill>
              </a:rPr>
              <a:t>Support is coming in stages until General Availability of Managed Instance</a:t>
            </a:r>
          </a:p>
        </p:txBody>
      </p:sp>
    </p:spTree>
    <p:extLst>
      <p:ext uri="{BB962C8B-B14F-4D97-AF65-F5344CB8AC3E}">
        <p14:creationId xmlns:p14="http://schemas.microsoft.com/office/powerpoint/2010/main" val="24796744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cap="small" spc="500" dirty="0">
                <a:solidFill>
                  <a:schemeClr val="bg1"/>
                </a:solidFill>
                <a:latin typeface="Segoe UI Semilight" charset="0"/>
                <a:cs typeface="Segoe UI Semilight" charset="0"/>
              </a:rPr>
              <a:t>Migration: Version compatibility</a:t>
            </a:r>
          </a:p>
        </p:txBody>
      </p:sp>
      <p:sp>
        <p:nvSpPr>
          <p:cNvPr id="3" name="Text Placeholder 2"/>
          <p:cNvSpPr>
            <a:spLocks noGrp="1"/>
          </p:cNvSpPr>
          <p:nvPr>
            <p:ph type="body" sz="quarter" idx="4294967295"/>
          </p:nvPr>
        </p:nvSpPr>
        <p:spPr>
          <a:xfrm>
            <a:off x="370824" y="1369565"/>
            <a:ext cx="5678488" cy="5146024"/>
          </a:xfrm>
        </p:spPr>
        <p:txBody>
          <a:bodyPr/>
          <a:lstStyle/>
          <a:p>
            <a:r>
              <a:rPr lang="en-US" sz="3200" dirty="0">
                <a:solidFill>
                  <a:schemeClr val="tx2"/>
                </a:solidFill>
                <a:latin typeface="+mn-lt"/>
              </a:rPr>
              <a:t>Most users would prefer the latest version</a:t>
            </a:r>
          </a:p>
          <a:p>
            <a:r>
              <a:rPr lang="en-US" sz="3200" dirty="0">
                <a:solidFill>
                  <a:schemeClr val="tx2"/>
                </a:solidFill>
                <a:latin typeface="+mn-lt"/>
              </a:rPr>
              <a:t>The major concern is risk associated to upgrades</a:t>
            </a:r>
          </a:p>
          <a:p>
            <a:pPr marL="0" indent="0">
              <a:buNone/>
            </a:pPr>
            <a:endParaRPr lang="en-US" dirty="0"/>
          </a:p>
          <a:p>
            <a:r>
              <a:rPr lang="en-US" sz="3200" dirty="0">
                <a:solidFill>
                  <a:schemeClr val="tx2"/>
                </a:solidFill>
                <a:latin typeface="+mn-lt"/>
              </a:rPr>
              <a:t>We will support migrations from SQL 2005+</a:t>
            </a:r>
          </a:p>
          <a:p>
            <a:r>
              <a:rPr lang="en-US" sz="3200" dirty="0">
                <a:solidFill>
                  <a:schemeClr val="tx2"/>
                </a:solidFill>
                <a:latin typeface="+mn-lt"/>
              </a:rPr>
              <a:t>We will keep supporting old version DB </a:t>
            </a:r>
            <a:r>
              <a:rPr lang="en-US" sz="3200" dirty="0" err="1">
                <a:solidFill>
                  <a:schemeClr val="tx2"/>
                </a:solidFill>
                <a:latin typeface="+mn-lt"/>
              </a:rPr>
              <a:t>compatility</a:t>
            </a:r>
            <a:r>
              <a:rPr lang="en-US" sz="3200" dirty="0">
                <a:solidFill>
                  <a:schemeClr val="tx2"/>
                </a:solidFill>
                <a:latin typeface="+mn-lt"/>
              </a:rPr>
              <a:t> levels in cloud </a:t>
            </a:r>
          </a:p>
        </p:txBody>
      </p:sp>
      <p:grpSp>
        <p:nvGrpSpPr>
          <p:cNvPr id="9" name="Group 8"/>
          <p:cNvGrpSpPr/>
          <p:nvPr/>
        </p:nvGrpSpPr>
        <p:grpSpPr>
          <a:xfrm>
            <a:off x="6049312" y="1265576"/>
            <a:ext cx="5724046" cy="5151507"/>
            <a:chOff x="5913437" y="1004732"/>
            <a:chExt cx="5838825" cy="5254805"/>
          </a:xfrm>
        </p:grpSpPr>
        <p:graphicFrame>
          <p:nvGraphicFramePr>
            <p:cNvPr id="5" name="Chart 4">
              <a:extLst>
                <a:ext uri="{FF2B5EF4-FFF2-40B4-BE49-F238E27FC236}">
                  <a16:creationId xmlns:a16="http://schemas.microsoft.com/office/drawing/2014/main" id="{86BAEC51-2ADA-428C-A996-B557B65A474C}"/>
                </a:ext>
              </a:extLst>
            </p:cNvPr>
            <p:cNvGraphicFramePr>
              <a:graphicFrameLocks/>
            </p:cNvGraphicFramePr>
            <p:nvPr>
              <p:extLst/>
            </p:nvPr>
          </p:nvGraphicFramePr>
          <p:xfrm>
            <a:off x="6904037" y="1211287"/>
            <a:ext cx="4848225" cy="504825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8275637" y="4183062"/>
              <a:ext cx="2846513" cy="960250"/>
            </a:xfrm>
            <a:prstGeom prst="rect">
              <a:avLst/>
            </a:prstGeom>
            <a:noFill/>
          </p:spPr>
          <p:txBody>
            <a:bodyPr wrap="none" lIns="179285" tIns="143428" rIns="179285" bIns="143428" rtlCol="0">
              <a:spAutoFit/>
            </a:bodyPr>
            <a:lstStyle/>
            <a:p>
              <a:pPr>
                <a:lnSpc>
                  <a:spcPct val="90000"/>
                </a:lnSpc>
                <a:spcAft>
                  <a:spcPts val="588"/>
                </a:spcAft>
              </a:pPr>
              <a:r>
                <a:rPr lang="en-US" sz="2353" dirty="0">
                  <a:solidFill>
                    <a:schemeClr val="bg1"/>
                  </a:solidFill>
                </a:rPr>
                <a:t>81% would prefer </a:t>
              </a:r>
              <a:br>
                <a:rPr lang="en-US" sz="2353" dirty="0">
                  <a:solidFill>
                    <a:schemeClr val="bg1"/>
                  </a:solidFill>
                </a:rPr>
              </a:br>
              <a:r>
                <a:rPr lang="en-US" sz="2353" dirty="0">
                  <a:solidFill>
                    <a:schemeClr val="bg1"/>
                  </a:solidFill>
                </a:rPr>
                <a:t>the latest version</a:t>
              </a:r>
            </a:p>
          </p:txBody>
        </p:sp>
        <p:sp>
          <p:nvSpPr>
            <p:cNvPr id="7" name="TextBox 6"/>
            <p:cNvSpPr txBox="1"/>
            <p:nvPr/>
          </p:nvSpPr>
          <p:spPr>
            <a:xfrm>
              <a:off x="5913437" y="1897704"/>
              <a:ext cx="2666975" cy="960250"/>
            </a:xfrm>
            <a:prstGeom prst="rect">
              <a:avLst/>
            </a:prstGeom>
            <a:noFill/>
          </p:spPr>
          <p:txBody>
            <a:bodyPr wrap="none" lIns="179285" tIns="143428" rIns="179285" bIns="143428" rtlCol="0">
              <a:spAutoFit/>
            </a:bodyPr>
            <a:lstStyle/>
            <a:p>
              <a:pPr>
                <a:lnSpc>
                  <a:spcPct val="90000"/>
                </a:lnSpc>
                <a:spcAft>
                  <a:spcPts val="588"/>
                </a:spcAft>
              </a:pPr>
              <a:r>
                <a:rPr lang="en-US" sz="2353" dirty="0"/>
                <a:t>9% must run </a:t>
              </a:r>
              <a:br>
                <a:rPr lang="en-US" sz="2353" dirty="0"/>
              </a:br>
              <a:r>
                <a:rPr lang="en-US" sz="2353" dirty="0"/>
                <a:t>the same version</a:t>
              </a:r>
            </a:p>
          </p:txBody>
        </p:sp>
        <p:sp>
          <p:nvSpPr>
            <p:cNvPr id="8" name="TextBox 7"/>
            <p:cNvSpPr txBox="1"/>
            <p:nvPr/>
          </p:nvSpPr>
          <p:spPr>
            <a:xfrm>
              <a:off x="8102521" y="1004732"/>
              <a:ext cx="2123844" cy="960250"/>
            </a:xfrm>
            <a:prstGeom prst="rect">
              <a:avLst/>
            </a:prstGeom>
            <a:noFill/>
          </p:spPr>
          <p:txBody>
            <a:bodyPr wrap="none" lIns="179285" tIns="143428" rIns="179285" bIns="143428" rtlCol="0">
              <a:spAutoFit/>
            </a:bodyPr>
            <a:lstStyle/>
            <a:p>
              <a:pPr>
                <a:lnSpc>
                  <a:spcPct val="90000"/>
                </a:lnSpc>
                <a:spcAft>
                  <a:spcPts val="588"/>
                </a:spcAft>
              </a:pPr>
              <a:r>
                <a:rPr lang="en-US" sz="2353" dirty="0"/>
                <a:t>10% doesn’t </a:t>
              </a:r>
              <a:br>
                <a:rPr lang="en-US" sz="2353" dirty="0"/>
              </a:br>
              <a:r>
                <a:rPr lang="en-US" sz="2353" dirty="0"/>
                <a:t>care</a:t>
              </a:r>
            </a:p>
          </p:txBody>
        </p:sp>
      </p:grpSp>
    </p:spTree>
    <p:extLst>
      <p:ext uri="{BB962C8B-B14F-4D97-AF65-F5344CB8AC3E}">
        <p14:creationId xmlns:p14="http://schemas.microsoft.com/office/powerpoint/2010/main" val="887349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8894FC1-50DF-4719-AEB2-94224E734BC2}"/>
              </a:ext>
            </a:extLst>
          </p:cNvPr>
          <p:cNvSpPr/>
          <p:nvPr/>
        </p:nvSpPr>
        <p:spPr>
          <a:xfrm>
            <a:off x="4225981" y="1469187"/>
            <a:ext cx="7826851" cy="4308652"/>
          </a:xfrm>
          <a:prstGeom prst="rect">
            <a:avLst/>
          </a:prstGeom>
        </p:spPr>
        <p:txBody>
          <a:bodyPr wrap="square" lIns="146263">
            <a:spAutoFit/>
          </a:bodyPr>
          <a:lstStyle/>
          <a:p>
            <a:pPr marL="336145" indent="-336145" defTabSz="931969">
              <a:lnSpc>
                <a:spcPct val="90000"/>
              </a:lnSpc>
              <a:spcBef>
                <a:spcPct val="0"/>
              </a:spcBef>
              <a:spcAft>
                <a:spcPts val="1200"/>
              </a:spcAft>
              <a:buFont typeface="Arial" panose="020B0604020202020204" pitchFamily="34" charset="0"/>
              <a:buChar char="•"/>
              <a:defRPr/>
            </a:pPr>
            <a:r>
              <a:rPr lang="en-US" sz="2353" kern="0" dirty="0">
                <a:ln w="3175">
                  <a:noFill/>
                </a:ln>
                <a:solidFill>
                  <a:srgbClr val="353535"/>
                </a:solidFill>
                <a:latin typeface="Segoe UI Light" panose="020B0502040204020203" pitchFamily="34" charset="0"/>
                <a:cs typeface="Segoe UI Light" panose="020B0502040204020203" pitchFamily="34" charset="0"/>
                <a:sym typeface="Wingdings" panose="05000000000000000000" pitchFamily="2" charset="2"/>
              </a:rPr>
              <a:t>Fully managed database migration service for both operational databases and data warehouses</a:t>
            </a:r>
          </a:p>
          <a:p>
            <a:pPr marL="336145" indent="-336145" defTabSz="931969">
              <a:lnSpc>
                <a:spcPct val="90000"/>
              </a:lnSpc>
              <a:spcBef>
                <a:spcPct val="0"/>
              </a:spcBef>
              <a:spcAft>
                <a:spcPts val="1200"/>
              </a:spcAft>
              <a:buFont typeface="Arial" panose="020B0604020202020204" pitchFamily="34" charset="0"/>
              <a:buChar char="•"/>
              <a:defRPr/>
            </a:pPr>
            <a:r>
              <a:rPr lang="en-US" sz="2353" kern="0" dirty="0">
                <a:ln w="3175">
                  <a:noFill/>
                </a:ln>
                <a:solidFill>
                  <a:srgbClr val="353535"/>
                </a:solidFill>
                <a:latin typeface="Segoe UI Light" panose="020B0502040204020203" pitchFamily="34" charset="0"/>
                <a:cs typeface="Segoe UI Light" panose="020B0502040204020203" pitchFamily="34" charset="0"/>
                <a:sym typeface="Wingdings" panose="05000000000000000000" pitchFamily="2" charset="2"/>
              </a:rPr>
              <a:t>Supports minimal down time migrations</a:t>
            </a:r>
          </a:p>
          <a:p>
            <a:pPr marL="336145" indent="-336145" defTabSz="931969">
              <a:lnSpc>
                <a:spcPct val="90000"/>
              </a:lnSpc>
              <a:spcBef>
                <a:spcPct val="0"/>
              </a:spcBef>
              <a:spcAft>
                <a:spcPts val="1200"/>
              </a:spcAft>
              <a:buFont typeface="Arial" panose="020B0604020202020204" pitchFamily="34" charset="0"/>
              <a:buChar char="•"/>
              <a:defRPr/>
            </a:pPr>
            <a:r>
              <a:rPr lang="en-US" sz="2353" kern="0" dirty="0">
                <a:ln w="3175">
                  <a:noFill/>
                </a:ln>
                <a:solidFill>
                  <a:srgbClr val="353535"/>
                </a:solidFill>
                <a:latin typeface="Segoe UI Light" panose="020B0502040204020203" pitchFamily="34" charset="0"/>
                <a:cs typeface="Segoe UI Light" panose="020B0502040204020203" pitchFamily="34" charset="0"/>
                <a:sym typeface="Wingdings" panose="05000000000000000000" pitchFamily="2" charset="2"/>
              </a:rPr>
              <a:t>Supports both homogeneous and heterogeneous</a:t>
            </a:r>
            <a:br>
              <a:rPr lang="en-US" sz="2353" kern="0" dirty="0">
                <a:ln w="3175">
                  <a:noFill/>
                </a:ln>
                <a:solidFill>
                  <a:srgbClr val="353535"/>
                </a:solidFill>
                <a:latin typeface="Segoe UI Light" panose="020B0502040204020203" pitchFamily="34" charset="0"/>
                <a:cs typeface="Segoe UI Light" panose="020B0502040204020203" pitchFamily="34" charset="0"/>
                <a:sym typeface="Wingdings" panose="05000000000000000000" pitchFamily="2" charset="2"/>
              </a:rPr>
            </a:br>
            <a:r>
              <a:rPr lang="en-US" sz="2353" kern="0" dirty="0">
                <a:ln w="3175">
                  <a:noFill/>
                </a:ln>
                <a:solidFill>
                  <a:srgbClr val="353535"/>
                </a:solidFill>
                <a:latin typeface="Segoe UI Light" panose="020B0502040204020203" pitchFamily="34" charset="0"/>
                <a:cs typeface="Segoe UI Light" panose="020B0502040204020203" pitchFamily="34" charset="0"/>
                <a:sym typeface="Wingdings" panose="05000000000000000000" pitchFamily="2" charset="2"/>
              </a:rPr>
              <a:t>source-target pairs</a:t>
            </a:r>
          </a:p>
          <a:p>
            <a:pPr marL="336145" indent="-336145" defTabSz="931969">
              <a:lnSpc>
                <a:spcPct val="90000"/>
              </a:lnSpc>
              <a:spcBef>
                <a:spcPct val="0"/>
              </a:spcBef>
              <a:spcAft>
                <a:spcPts val="1200"/>
              </a:spcAft>
              <a:buFont typeface="Arial" panose="020B0604020202020204" pitchFamily="34" charset="0"/>
              <a:buChar char="•"/>
              <a:defRPr/>
            </a:pPr>
            <a:r>
              <a:rPr lang="en-US" sz="2353" dirty="0">
                <a:gradFill>
                  <a:gsLst>
                    <a:gs pos="2917">
                      <a:srgbClr val="353535"/>
                    </a:gs>
                    <a:gs pos="30000">
                      <a:srgbClr val="353535"/>
                    </a:gs>
                  </a:gsLst>
                  <a:lin ang="5400000" scaled="0"/>
                </a:gradFill>
                <a:latin typeface="Segoe UI Semilight"/>
              </a:rPr>
              <a:t>Initial focus on reliability and performance</a:t>
            </a:r>
          </a:p>
          <a:p>
            <a:pPr marL="336145" indent="-336145" defTabSz="931969">
              <a:lnSpc>
                <a:spcPct val="90000"/>
              </a:lnSpc>
              <a:spcBef>
                <a:spcPct val="0"/>
              </a:spcBef>
              <a:spcAft>
                <a:spcPts val="1200"/>
              </a:spcAft>
              <a:buFont typeface="Arial" panose="020B0604020202020204" pitchFamily="34" charset="0"/>
              <a:buChar char="•"/>
              <a:defRPr/>
            </a:pPr>
            <a:r>
              <a:rPr lang="en-US" sz="2353" dirty="0">
                <a:gradFill>
                  <a:gsLst>
                    <a:gs pos="2917">
                      <a:srgbClr val="353535"/>
                    </a:gs>
                    <a:gs pos="30000">
                      <a:srgbClr val="353535"/>
                    </a:gs>
                  </a:gsLst>
                  <a:lin ang="5400000" scaled="0"/>
                </a:gradFill>
                <a:latin typeface="Segoe UI Semilight"/>
              </a:rPr>
              <a:t>Iterative addition of source-target pairs</a:t>
            </a:r>
          </a:p>
          <a:p>
            <a:pPr marL="336145" indent="-336145" defTabSz="931969">
              <a:lnSpc>
                <a:spcPct val="90000"/>
              </a:lnSpc>
              <a:spcBef>
                <a:spcPct val="0"/>
              </a:spcBef>
              <a:spcAft>
                <a:spcPts val="1200"/>
              </a:spcAft>
              <a:buFont typeface="Arial" panose="020B0604020202020204" pitchFamily="34" charset="0"/>
              <a:buChar char="•"/>
              <a:defRPr/>
            </a:pPr>
            <a:r>
              <a:rPr lang="en-US" sz="2745" dirty="0">
                <a:gradFill>
                  <a:gsLst>
                    <a:gs pos="2917">
                      <a:srgbClr val="353535"/>
                    </a:gs>
                    <a:gs pos="30000">
                      <a:srgbClr val="353535"/>
                    </a:gs>
                  </a:gsLst>
                  <a:lin ang="5400000" scaled="0"/>
                </a:gradFill>
                <a:latin typeface="Segoe UI Semilight"/>
              </a:rPr>
              <a:t>Continued</a:t>
            </a:r>
            <a:r>
              <a:rPr lang="en-US" sz="2353" dirty="0">
                <a:gradFill>
                  <a:gsLst>
                    <a:gs pos="2917">
                      <a:srgbClr val="353535"/>
                    </a:gs>
                    <a:gs pos="30000">
                      <a:srgbClr val="353535"/>
                    </a:gs>
                  </a:gsLst>
                  <a:lin ang="5400000" scaled="0"/>
                </a:gradFill>
                <a:latin typeface="Segoe UI Semilight"/>
              </a:rPr>
              <a:t> investment in friction-free competitive conversions</a:t>
            </a:r>
          </a:p>
          <a:p>
            <a:pPr marL="336145" indent="-336145" defTabSz="931969">
              <a:lnSpc>
                <a:spcPct val="90000"/>
              </a:lnSpc>
              <a:spcBef>
                <a:spcPct val="0"/>
              </a:spcBef>
              <a:spcAft>
                <a:spcPts val="1200"/>
              </a:spcAft>
              <a:buFont typeface="Arial" panose="020B0604020202020204" pitchFamily="34" charset="0"/>
              <a:buChar char="•"/>
              <a:defRPr/>
            </a:pPr>
            <a:endParaRPr lang="en-US" sz="2353" kern="0" dirty="0">
              <a:ln w="3175">
                <a:noFill/>
              </a:ln>
              <a:solidFill>
                <a:srgbClr val="353535"/>
              </a:solidFill>
              <a:latin typeface="Segoe UI Light" panose="020B0502040204020203" pitchFamily="34" charset="0"/>
              <a:cs typeface="Segoe UI Light" panose="020B0502040204020203" pitchFamily="34" charset="0"/>
              <a:sym typeface="Wingdings" panose="05000000000000000000" pitchFamily="2" charset="2"/>
            </a:endParaRPr>
          </a:p>
        </p:txBody>
      </p:sp>
      <p:sp>
        <p:nvSpPr>
          <p:cNvPr id="6" name="Rectangle 5">
            <a:extLst>
              <a:ext uri="{FF2B5EF4-FFF2-40B4-BE49-F238E27FC236}">
                <a16:creationId xmlns:a16="http://schemas.microsoft.com/office/drawing/2014/main" id="{0C4B4C67-C62B-4724-990F-D15EE63B4B95}"/>
              </a:ext>
            </a:extLst>
          </p:cNvPr>
          <p:cNvSpPr/>
          <p:nvPr/>
        </p:nvSpPr>
        <p:spPr bwMode="auto">
          <a:xfrm>
            <a:off x="3458" y="25579"/>
            <a:ext cx="12188542" cy="11335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3137" cap="all" spc="500" dirty="0">
                <a:ln w="3175">
                  <a:noFill/>
                </a:ln>
                <a:solidFill>
                  <a:srgbClr val="FFFFFF"/>
                </a:solidFill>
                <a:latin typeface="Segoe UI Semilight" charset="0"/>
                <a:cs typeface="Segoe UI Semilight" charset="0"/>
              </a:rPr>
              <a:t>Reliable and seamless migrations</a:t>
            </a:r>
          </a:p>
        </p:txBody>
      </p:sp>
      <p:grpSp>
        <p:nvGrpSpPr>
          <p:cNvPr id="32" name="Group 31">
            <a:extLst>
              <a:ext uri="{FF2B5EF4-FFF2-40B4-BE49-F238E27FC236}">
                <a16:creationId xmlns:a16="http://schemas.microsoft.com/office/drawing/2014/main" id="{DD7F3B4E-C8D4-4E4D-81AB-3B8981CCCD16}"/>
              </a:ext>
            </a:extLst>
          </p:cNvPr>
          <p:cNvGrpSpPr/>
          <p:nvPr/>
        </p:nvGrpSpPr>
        <p:grpSpPr>
          <a:xfrm>
            <a:off x="717451" y="1774899"/>
            <a:ext cx="3051748" cy="3873916"/>
            <a:chOff x="979974" y="1245399"/>
            <a:chExt cx="3112942" cy="3951596"/>
          </a:xfrm>
        </p:grpSpPr>
        <p:sp>
          <p:nvSpPr>
            <p:cNvPr id="3" name="Freeform 266">
              <a:extLst>
                <a:ext uri="{FF2B5EF4-FFF2-40B4-BE49-F238E27FC236}">
                  <a16:creationId xmlns:a16="http://schemas.microsoft.com/office/drawing/2014/main" id="{B731B328-D9C8-4E7B-886B-723E965EA8D1}"/>
                </a:ext>
              </a:extLst>
            </p:cNvPr>
            <p:cNvSpPr>
              <a:spLocks noChangeAspect="1"/>
            </p:cNvSpPr>
            <p:nvPr/>
          </p:nvSpPr>
          <p:spPr bwMode="black">
            <a:xfrm>
              <a:off x="1018752" y="1259369"/>
              <a:ext cx="3074164" cy="18180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solidFill>
                <a:schemeClr val="tx1">
                  <a:lumMod val="40000"/>
                  <a:lumOff val="60000"/>
                </a:schemeClr>
              </a:solidFill>
            </a:ln>
          </p:spPr>
          <p:txBody>
            <a:bodyPr vert="horz" wrap="square" lIns="89606" tIns="44804" rIns="89606" bIns="44804" numCol="1" anchor="t" anchorCtr="0" compatLnSpc="1">
              <a:prstTxWarp prst="textNoShape">
                <a:avLst/>
              </a:prstTxWarp>
            </a:bodyPr>
            <a:lstStyle/>
            <a:p>
              <a:pPr defTabSz="914225">
                <a:defRPr/>
              </a:pPr>
              <a:endParaRPr lang="en-US" sz="1764">
                <a:solidFill>
                  <a:srgbClr val="2C2C2C"/>
                </a:solidFill>
                <a:latin typeface="Segoe UI"/>
              </a:endParaRPr>
            </a:p>
          </p:txBody>
        </p:sp>
        <p:pic>
          <p:nvPicPr>
            <p:cNvPr id="17" name="Picture 16">
              <a:extLst>
                <a:ext uri="{FF2B5EF4-FFF2-40B4-BE49-F238E27FC236}">
                  <a16:creationId xmlns:a16="http://schemas.microsoft.com/office/drawing/2014/main" id="{BC9DF00B-E8C6-45AC-AD10-A6F0C147314E}"/>
                </a:ext>
              </a:extLst>
            </p:cNvPr>
            <p:cNvPicPr>
              <a:picLocks noChangeAspect="1"/>
            </p:cNvPicPr>
            <p:nvPr/>
          </p:nvPicPr>
          <p:blipFill>
            <a:blip r:embed="rId3"/>
            <a:stretch>
              <a:fillRect/>
            </a:stretch>
          </p:blipFill>
          <p:spPr>
            <a:xfrm>
              <a:off x="1329868" y="3547270"/>
              <a:ext cx="1225965" cy="1641117"/>
            </a:xfrm>
            <a:prstGeom prst="rect">
              <a:avLst/>
            </a:prstGeom>
          </p:spPr>
        </p:pic>
        <p:sp>
          <p:nvSpPr>
            <p:cNvPr id="18" name="TextBox 17">
              <a:extLst>
                <a:ext uri="{FF2B5EF4-FFF2-40B4-BE49-F238E27FC236}">
                  <a16:creationId xmlns:a16="http://schemas.microsoft.com/office/drawing/2014/main" id="{DB49FB30-4EB4-45BA-A014-F383F973E419}"/>
                </a:ext>
              </a:extLst>
            </p:cNvPr>
            <p:cNvSpPr txBox="1"/>
            <p:nvPr/>
          </p:nvSpPr>
          <p:spPr>
            <a:xfrm>
              <a:off x="1473141" y="4350470"/>
              <a:ext cx="943135" cy="641241"/>
            </a:xfrm>
            <a:prstGeom prst="rect">
              <a:avLst/>
            </a:prstGeom>
            <a:noFill/>
          </p:spPr>
          <p:txBody>
            <a:bodyPr wrap="none" lIns="179259" tIns="143407" rIns="179259" bIns="143407" rtlCol="0">
              <a:spAutoFit/>
            </a:bodyPr>
            <a:lstStyle/>
            <a:p>
              <a:pPr algn="ctr" defTabSz="914225">
                <a:lnSpc>
                  <a:spcPct val="90000"/>
                </a:lnSpc>
                <a:spcAft>
                  <a:spcPts val="588"/>
                </a:spcAft>
                <a:defRPr/>
              </a:pPr>
              <a:r>
                <a:rPr lang="en-US" sz="2400">
                  <a:solidFill>
                    <a:srgbClr val="505050"/>
                  </a:solidFill>
                  <a:latin typeface="Segoe UI Semibold" panose="020B0702040204020203" pitchFamily="34" charset="0"/>
                  <a:cs typeface="Segoe UI Semibold" panose="020B0702040204020203" pitchFamily="34" charset="0"/>
                </a:rPr>
                <a:t>SQL</a:t>
              </a:r>
            </a:p>
          </p:txBody>
        </p:sp>
        <p:sp>
          <p:nvSpPr>
            <p:cNvPr id="19" name="Freeform 266">
              <a:extLst>
                <a:ext uri="{FF2B5EF4-FFF2-40B4-BE49-F238E27FC236}">
                  <a16:creationId xmlns:a16="http://schemas.microsoft.com/office/drawing/2014/main" id="{3C42F534-8640-4CC8-A3FD-348FC357A9A7}"/>
                </a:ext>
              </a:extLst>
            </p:cNvPr>
            <p:cNvSpPr>
              <a:spLocks noChangeAspect="1"/>
            </p:cNvSpPr>
            <p:nvPr/>
          </p:nvSpPr>
          <p:spPr bwMode="black">
            <a:xfrm>
              <a:off x="979974" y="1245399"/>
              <a:ext cx="3074164" cy="18180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solidFill>
                <a:srgbClr val="0078D7"/>
              </a:solidFill>
            </a:ln>
          </p:spPr>
          <p:txBody>
            <a:bodyPr vert="horz" wrap="square" lIns="89606" tIns="44804" rIns="89606" bIns="44804" numCol="1" anchor="t" anchorCtr="0" compatLnSpc="1">
              <a:prstTxWarp prst="textNoShape">
                <a:avLst/>
              </a:prstTxWarp>
            </a:bodyPr>
            <a:lstStyle/>
            <a:p>
              <a:pPr defTabSz="914225">
                <a:defRPr/>
              </a:pPr>
              <a:endParaRPr lang="en-US" sz="1764">
                <a:solidFill>
                  <a:srgbClr val="2C2C2C"/>
                </a:solidFill>
                <a:latin typeface="Segoe UI"/>
              </a:endParaRPr>
            </a:p>
          </p:txBody>
        </p:sp>
        <p:grpSp>
          <p:nvGrpSpPr>
            <p:cNvPr id="21" name="Group 20">
              <a:extLst>
                <a:ext uri="{FF2B5EF4-FFF2-40B4-BE49-F238E27FC236}">
                  <a16:creationId xmlns:a16="http://schemas.microsoft.com/office/drawing/2014/main" id="{6896CC75-D273-4F6A-96E1-814031920CDD}"/>
                </a:ext>
              </a:extLst>
            </p:cNvPr>
            <p:cNvGrpSpPr/>
            <p:nvPr/>
          </p:nvGrpSpPr>
          <p:grpSpPr>
            <a:xfrm>
              <a:off x="2677647" y="3555878"/>
              <a:ext cx="1225965" cy="1641117"/>
              <a:chOff x="10005145" y="2724746"/>
              <a:chExt cx="1183664" cy="1584487"/>
            </a:xfrm>
          </p:grpSpPr>
          <p:pic>
            <p:nvPicPr>
              <p:cNvPr id="26" name="Picture 25">
                <a:extLst>
                  <a:ext uri="{FF2B5EF4-FFF2-40B4-BE49-F238E27FC236}">
                    <a16:creationId xmlns:a16="http://schemas.microsoft.com/office/drawing/2014/main" id="{80BB41CA-2622-44D9-BB78-B7CAB20EC06D}"/>
                  </a:ext>
                </a:extLst>
              </p:cNvPr>
              <p:cNvPicPr>
                <a:picLocks noChangeAspect="1"/>
              </p:cNvPicPr>
              <p:nvPr/>
            </p:nvPicPr>
            <p:blipFill>
              <a:blip r:embed="rId4"/>
              <a:stretch>
                <a:fillRect/>
              </a:stretch>
            </p:blipFill>
            <p:spPr>
              <a:xfrm>
                <a:off x="10005145" y="2724746"/>
                <a:ext cx="1183664" cy="1584487"/>
              </a:xfrm>
              <a:prstGeom prst="rect">
                <a:avLst/>
              </a:prstGeom>
            </p:spPr>
          </p:pic>
          <p:sp>
            <p:nvSpPr>
              <p:cNvPr id="27" name="TextBox 26">
                <a:extLst>
                  <a:ext uri="{FF2B5EF4-FFF2-40B4-BE49-F238E27FC236}">
                    <a16:creationId xmlns:a16="http://schemas.microsoft.com/office/drawing/2014/main" id="{89B6134A-8759-427D-9F78-1F4E2415BF64}"/>
                  </a:ext>
                </a:extLst>
              </p:cNvPr>
              <p:cNvSpPr txBox="1"/>
              <p:nvPr/>
            </p:nvSpPr>
            <p:spPr>
              <a:xfrm>
                <a:off x="10166186" y="3500230"/>
                <a:ext cx="910592" cy="619114"/>
              </a:xfrm>
              <a:prstGeom prst="rect">
                <a:avLst/>
              </a:prstGeom>
              <a:noFill/>
            </p:spPr>
            <p:txBody>
              <a:bodyPr wrap="none" lIns="179259" tIns="143407" rIns="179259" bIns="143407" rtlCol="0">
                <a:spAutoFit/>
              </a:bodyPr>
              <a:lstStyle/>
              <a:p>
                <a:pPr algn="ctr" defTabSz="914225">
                  <a:lnSpc>
                    <a:spcPct val="90000"/>
                  </a:lnSpc>
                  <a:spcAft>
                    <a:spcPts val="588"/>
                  </a:spcAft>
                  <a:defRPr/>
                </a:pPr>
                <a:r>
                  <a:rPr lang="en-US" sz="2400">
                    <a:solidFill>
                      <a:srgbClr val="505050"/>
                    </a:solidFill>
                    <a:latin typeface="Segoe UI Semibold" panose="020B0702040204020203" pitchFamily="34" charset="0"/>
                    <a:cs typeface="Segoe UI Semibold" panose="020B0702040204020203" pitchFamily="34" charset="0"/>
                  </a:rPr>
                  <a:t>SQL</a:t>
                </a:r>
              </a:p>
            </p:txBody>
          </p:sp>
        </p:grpSp>
        <p:cxnSp>
          <p:nvCxnSpPr>
            <p:cNvPr id="23" name="Straight Arrow Connector 22">
              <a:extLst>
                <a:ext uri="{FF2B5EF4-FFF2-40B4-BE49-F238E27FC236}">
                  <a16:creationId xmlns:a16="http://schemas.microsoft.com/office/drawing/2014/main" id="{7E59DE9C-7538-4316-9E83-14FB1CEA283E}"/>
                </a:ext>
              </a:extLst>
            </p:cNvPr>
            <p:cNvCxnSpPr/>
            <p:nvPr/>
          </p:nvCxnSpPr>
          <p:spPr>
            <a:xfrm flipV="1">
              <a:off x="3238199" y="2778953"/>
              <a:ext cx="0" cy="1134675"/>
            </a:xfrm>
            <a:prstGeom prst="straightConnector1">
              <a:avLst/>
            </a:prstGeom>
            <a:ln w="381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EA1261D5-16EE-45F6-BBDE-630D7E4C9CC6}"/>
                </a:ext>
              </a:extLst>
            </p:cNvPr>
            <p:cNvPicPr>
              <a:picLocks noChangeAspect="1"/>
            </p:cNvPicPr>
            <p:nvPr/>
          </p:nvPicPr>
          <p:blipFill>
            <a:blip r:embed="rId4"/>
            <a:stretch>
              <a:fillRect/>
            </a:stretch>
          </p:blipFill>
          <p:spPr>
            <a:xfrm>
              <a:off x="2189959" y="1790712"/>
              <a:ext cx="756024" cy="1012038"/>
            </a:xfrm>
            <a:prstGeom prst="rect">
              <a:avLst/>
            </a:prstGeom>
          </p:spPr>
        </p:pic>
        <p:sp>
          <p:nvSpPr>
            <p:cNvPr id="25" name="TextBox 24">
              <a:extLst>
                <a:ext uri="{FF2B5EF4-FFF2-40B4-BE49-F238E27FC236}">
                  <a16:creationId xmlns:a16="http://schemas.microsoft.com/office/drawing/2014/main" id="{C5FA82E1-3C70-46A9-AD47-B8B22B625CE1}"/>
                </a:ext>
              </a:extLst>
            </p:cNvPr>
            <p:cNvSpPr txBox="1"/>
            <p:nvPr/>
          </p:nvSpPr>
          <p:spPr>
            <a:xfrm>
              <a:off x="2062033" y="2245649"/>
              <a:ext cx="1000357" cy="497107"/>
            </a:xfrm>
            <a:prstGeom prst="rect">
              <a:avLst/>
            </a:prstGeom>
            <a:noFill/>
          </p:spPr>
          <p:txBody>
            <a:bodyPr wrap="none" lIns="179259" tIns="143407" rIns="179259" bIns="143407" rtlCol="0">
              <a:spAutoFit/>
            </a:bodyPr>
            <a:lstStyle/>
            <a:p>
              <a:pPr algn="ctr" defTabSz="914225">
                <a:lnSpc>
                  <a:spcPct val="90000"/>
                </a:lnSpc>
                <a:spcAft>
                  <a:spcPts val="588"/>
                </a:spcAft>
                <a:defRPr/>
              </a:pPr>
              <a:r>
                <a:rPr lang="en-US" sz="1400" dirty="0">
                  <a:solidFill>
                    <a:srgbClr val="505050"/>
                  </a:solidFill>
                  <a:latin typeface="Segoe UI Semibold" panose="020B0702040204020203" pitchFamily="34" charset="0"/>
                  <a:cs typeface="Segoe UI Semibold" panose="020B0702040204020203" pitchFamily="34" charset="0"/>
                </a:rPr>
                <a:t>SQL DB</a:t>
              </a:r>
            </a:p>
          </p:txBody>
        </p:sp>
        <p:pic>
          <p:nvPicPr>
            <p:cNvPr id="28" name="Picture 27">
              <a:extLst>
                <a:ext uri="{FF2B5EF4-FFF2-40B4-BE49-F238E27FC236}">
                  <a16:creationId xmlns:a16="http://schemas.microsoft.com/office/drawing/2014/main" id="{60A36F62-72B0-4B9D-8C3D-47AF346E63E7}"/>
                </a:ext>
              </a:extLst>
            </p:cNvPr>
            <p:cNvPicPr>
              <a:picLocks noChangeAspect="1"/>
            </p:cNvPicPr>
            <p:nvPr/>
          </p:nvPicPr>
          <p:blipFill>
            <a:blip r:embed="rId3"/>
            <a:stretch>
              <a:fillRect/>
            </a:stretch>
          </p:blipFill>
          <p:spPr>
            <a:xfrm>
              <a:off x="1313668" y="3533300"/>
              <a:ext cx="1225965" cy="1641117"/>
            </a:xfrm>
            <a:prstGeom prst="rect">
              <a:avLst/>
            </a:prstGeom>
          </p:spPr>
        </p:pic>
        <p:cxnSp>
          <p:nvCxnSpPr>
            <p:cNvPr id="22" name="Straight Arrow Connector 21">
              <a:extLst>
                <a:ext uri="{FF2B5EF4-FFF2-40B4-BE49-F238E27FC236}">
                  <a16:creationId xmlns:a16="http://schemas.microsoft.com/office/drawing/2014/main" id="{DC2A7A91-2DDE-4D13-88B4-80D1C4A8C4C1}"/>
                </a:ext>
              </a:extLst>
            </p:cNvPr>
            <p:cNvCxnSpPr>
              <a:cxnSpLocks/>
            </p:cNvCxnSpPr>
            <p:nvPr/>
          </p:nvCxnSpPr>
          <p:spPr>
            <a:xfrm flipV="1">
              <a:off x="1933376" y="2778953"/>
              <a:ext cx="0" cy="1264937"/>
            </a:xfrm>
            <a:prstGeom prst="straightConnector1">
              <a:avLst/>
            </a:prstGeom>
            <a:ln w="38100">
              <a:solidFill>
                <a:srgbClr val="008A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C01E0327-FB7E-4EC7-A75F-46E9D227B917}"/>
                </a:ext>
              </a:extLst>
            </p:cNvPr>
            <p:cNvSpPr txBox="1"/>
            <p:nvPr/>
          </p:nvSpPr>
          <p:spPr>
            <a:xfrm>
              <a:off x="1265237" y="4336500"/>
              <a:ext cx="1281389" cy="634490"/>
            </a:xfrm>
            <a:prstGeom prst="rect">
              <a:avLst/>
            </a:prstGeom>
            <a:noFill/>
          </p:spPr>
          <p:txBody>
            <a:bodyPr wrap="none" lIns="179259" tIns="143407" rIns="179259" bIns="143407" rtlCol="0">
              <a:spAutoFit/>
            </a:bodyPr>
            <a:lstStyle/>
            <a:p>
              <a:pPr algn="ctr" defTabSz="914225">
                <a:lnSpc>
                  <a:spcPct val="90000"/>
                </a:lnSpc>
                <a:spcAft>
                  <a:spcPts val="588"/>
                </a:spcAft>
                <a:defRPr/>
              </a:pPr>
              <a:r>
                <a:rPr lang="en-US" sz="2400">
                  <a:solidFill>
                    <a:srgbClr val="505050"/>
                  </a:solidFill>
                  <a:latin typeface="Segoe UI Semibold" panose="020B0702040204020203" pitchFamily="34" charset="0"/>
                  <a:cs typeface="Segoe UI Semibold" panose="020B0702040204020203" pitchFamily="34" charset="0"/>
                </a:rPr>
                <a:t>Oracle</a:t>
              </a:r>
            </a:p>
          </p:txBody>
        </p:sp>
      </p:grpSp>
      <p:sp>
        <p:nvSpPr>
          <p:cNvPr id="2" name="Title 1">
            <a:extLst>
              <a:ext uri="{FF2B5EF4-FFF2-40B4-BE49-F238E27FC236}">
                <a16:creationId xmlns:a16="http://schemas.microsoft.com/office/drawing/2014/main" id="{1BD5D3F0-43A4-44BA-A741-2E1CA8CAFD16}"/>
              </a:ext>
            </a:extLst>
          </p:cNvPr>
          <p:cNvSpPr>
            <a:spLocks noGrp="1"/>
          </p:cNvSpPr>
          <p:nvPr>
            <p:ph type="title"/>
          </p:nvPr>
        </p:nvSpPr>
        <p:spPr>
          <a:xfrm>
            <a:off x="2116225" y="650296"/>
            <a:ext cx="11655840" cy="531879"/>
          </a:xfrm>
        </p:spPr>
        <p:txBody>
          <a:bodyPr/>
          <a:lstStyle/>
          <a:p>
            <a:r>
              <a:rPr lang="en-US" sz="3137" dirty="0">
                <a:solidFill>
                  <a:schemeClr val="bg1"/>
                </a:solidFill>
                <a:latin typeface="Segoe UI Semibold" panose="020B0702040204020203" pitchFamily="34" charset="0"/>
                <a:cs typeface="Segoe UI Semibold" panose="020B0702040204020203" pitchFamily="34" charset="0"/>
              </a:rPr>
              <a:t>Azure Database Migration Service (DMS)</a:t>
            </a:r>
          </a:p>
        </p:txBody>
      </p:sp>
    </p:spTree>
    <p:extLst>
      <p:ext uri="{BB962C8B-B14F-4D97-AF65-F5344CB8AC3E}">
        <p14:creationId xmlns:p14="http://schemas.microsoft.com/office/powerpoint/2010/main" val="1736632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cap="small" spc="500" dirty="0">
                <a:solidFill>
                  <a:schemeClr val="bg1"/>
                </a:solidFill>
                <a:latin typeface="Segoe UI Semilight" charset="0"/>
                <a:cs typeface="Segoe UI Semilight" charset="0"/>
              </a:rPr>
              <a:t>Migration: SSIS / SSAS / SSRS</a:t>
            </a:r>
          </a:p>
        </p:txBody>
      </p:sp>
      <p:sp>
        <p:nvSpPr>
          <p:cNvPr id="3" name="Text Placeholder 2"/>
          <p:cNvSpPr>
            <a:spLocks noGrp="1"/>
          </p:cNvSpPr>
          <p:nvPr>
            <p:ph type="body" sz="quarter" idx="4294967295"/>
          </p:nvPr>
        </p:nvSpPr>
        <p:spPr>
          <a:xfrm>
            <a:off x="538163" y="1189038"/>
            <a:ext cx="11653837" cy="4862870"/>
          </a:xfrm>
        </p:spPr>
        <p:txBody>
          <a:bodyPr/>
          <a:lstStyle/>
          <a:p>
            <a:r>
              <a:rPr lang="en-US" sz="3200" dirty="0">
                <a:solidFill>
                  <a:schemeClr val="tx2"/>
                </a:solidFill>
                <a:latin typeface="+mn-lt"/>
              </a:rPr>
              <a:t>These services will </a:t>
            </a:r>
            <a:r>
              <a:rPr lang="en-US" sz="3200" b="1" dirty="0">
                <a:solidFill>
                  <a:schemeClr val="tx2"/>
                </a:solidFill>
                <a:latin typeface="+mn-lt"/>
              </a:rPr>
              <a:t>not be installed </a:t>
            </a:r>
            <a:r>
              <a:rPr lang="en-US" sz="3200" dirty="0">
                <a:solidFill>
                  <a:schemeClr val="tx2"/>
                </a:solidFill>
                <a:latin typeface="+mn-lt"/>
              </a:rPr>
              <a:t>side-by-side with Managed Instance</a:t>
            </a:r>
          </a:p>
          <a:p>
            <a:endParaRPr lang="en-US" dirty="0"/>
          </a:p>
          <a:p>
            <a:r>
              <a:rPr lang="en-US" sz="3200" dirty="0">
                <a:solidFill>
                  <a:schemeClr val="tx2"/>
                </a:solidFill>
                <a:latin typeface="+mn-lt"/>
              </a:rPr>
              <a:t>Recommendation: move to PaaS model</a:t>
            </a:r>
          </a:p>
          <a:p>
            <a:pPr marL="784338" lvl="1" indent="-560241">
              <a:buFont typeface="Arial" panose="020B0604020202020204" pitchFamily="34" charset="0"/>
              <a:buChar char="•"/>
            </a:pPr>
            <a:r>
              <a:rPr lang="en-US" cap="small" dirty="0">
                <a:solidFill>
                  <a:schemeClr val="tx1"/>
                </a:solidFill>
              </a:rPr>
              <a:t>Migrate your SSIS packages to new SSIS PaaS service</a:t>
            </a:r>
          </a:p>
          <a:p>
            <a:pPr marL="784338" lvl="1" indent="-560241">
              <a:buFont typeface="Arial" panose="020B0604020202020204" pitchFamily="34" charset="0"/>
              <a:buChar char="•"/>
            </a:pPr>
            <a:r>
              <a:rPr lang="en-US" cap="small" dirty="0">
                <a:solidFill>
                  <a:schemeClr val="tx1"/>
                </a:solidFill>
              </a:rPr>
              <a:t>Migrate your OLAP models to Azure Analysis Services</a:t>
            </a:r>
          </a:p>
          <a:p>
            <a:r>
              <a:rPr lang="en-US" sz="3200" dirty="0">
                <a:solidFill>
                  <a:schemeClr val="tx2"/>
                </a:solidFill>
                <a:latin typeface="+mn-lt"/>
              </a:rPr>
              <a:t>… or run these services in Azure virtual machines</a:t>
            </a:r>
          </a:p>
          <a:p>
            <a:endParaRPr lang="en-US" dirty="0"/>
          </a:p>
          <a:p>
            <a:r>
              <a:rPr lang="en-US" sz="3200" dirty="0">
                <a:solidFill>
                  <a:schemeClr val="tx2"/>
                </a:solidFill>
                <a:latin typeface="+mn-lt"/>
              </a:rPr>
              <a:t>For SSRS, the recommendation is to run in a virtual machine</a:t>
            </a:r>
          </a:p>
        </p:txBody>
      </p:sp>
    </p:spTree>
    <p:extLst>
      <p:ext uri="{BB962C8B-B14F-4D97-AF65-F5344CB8AC3E}">
        <p14:creationId xmlns:p14="http://schemas.microsoft.com/office/powerpoint/2010/main" val="28683041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cap="small" spc="500" dirty="0">
                <a:solidFill>
                  <a:schemeClr val="bg1"/>
                </a:solidFill>
                <a:latin typeface="Segoe UI Semilight" charset="0"/>
                <a:cs typeface="Segoe UI Semilight" charset="0"/>
              </a:rPr>
              <a:t>SSIS PaaS service (in preview)</a:t>
            </a:r>
          </a:p>
        </p:txBody>
      </p:sp>
      <p:sp>
        <p:nvSpPr>
          <p:cNvPr id="3" name="Text Placeholder 2"/>
          <p:cNvSpPr>
            <a:spLocks noGrp="1"/>
          </p:cNvSpPr>
          <p:nvPr>
            <p:ph type="body" sz="quarter" idx="4294967295"/>
          </p:nvPr>
        </p:nvSpPr>
        <p:spPr>
          <a:xfrm>
            <a:off x="90102" y="1247248"/>
            <a:ext cx="5477613" cy="5406416"/>
          </a:xfrm>
        </p:spPr>
        <p:txBody>
          <a:bodyPr/>
          <a:lstStyle/>
          <a:p>
            <a:r>
              <a:rPr lang="en-US" sz="3200" dirty="0">
                <a:solidFill>
                  <a:schemeClr val="tx2"/>
                </a:solidFill>
                <a:latin typeface="+mn-lt"/>
              </a:rPr>
              <a:t>Goal: execute your SSIS packages, without changes</a:t>
            </a:r>
          </a:p>
          <a:p>
            <a:endParaRPr lang="en-US" sz="3137" dirty="0"/>
          </a:p>
          <a:p>
            <a:r>
              <a:rPr lang="en-US" sz="3200" dirty="0">
                <a:solidFill>
                  <a:schemeClr val="tx2"/>
                </a:solidFill>
                <a:latin typeface="+mn-lt"/>
              </a:rPr>
              <a:t>How?</a:t>
            </a:r>
          </a:p>
          <a:p>
            <a:pPr marL="784338" lvl="1" indent="-560241">
              <a:buFont typeface="Arial" panose="020B0604020202020204" pitchFamily="34" charset="0"/>
              <a:buChar char="•"/>
            </a:pPr>
            <a:r>
              <a:rPr lang="en-US" cap="small" dirty="0">
                <a:solidFill>
                  <a:schemeClr val="tx1"/>
                </a:solidFill>
              </a:rPr>
              <a:t>SSIS instance provisioned under Azure Data Factory</a:t>
            </a:r>
          </a:p>
          <a:p>
            <a:pPr marL="1008435" lvl="2" indent="-560241">
              <a:buFont typeface="Arial" panose="020B0604020202020204" pitchFamily="34" charset="0"/>
              <a:buChar char="•"/>
            </a:pPr>
            <a:r>
              <a:rPr lang="en-US" sz="1961" dirty="0"/>
              <a:t>Catalog (SSISDB) can be stored on Managed Instance</a:t>
            </a:r>
          </a:p>
          <a:p>
            <a:pPr marL="784338" lvl="1" indent="-560241"/>
            <a:r>
              <a:rPr lang="en-US" cap="small" dirty="0">
                <a:solidFill>
                  <a:schemeClr val="tx1"/>
                </a:solidFill>
              </a:rPr>
              <a:t>Authoring / deployment </a:t>
            </a:r>
            <a:br>
              <a:rPr lang="en-US" cap="small" dirty="0">
                <a:solidFill>
                  <a:schemeClr val="tx1"/>
                </a:solidFill>
              </a:rPr>
            </a:br>
            <a:r>
              <a:rPr lang="en-US" cap="small" dirty="0">
                <a:solidFill>
                  <a:schemeClr val="tx1"/>
                </a:solidFill>
              </a:rPr>
              <a:t>by SSDT</a:t>
            </a:r>
          </a:p>
          <a:p>
            <a:pPr marL="784338" lvl="1" indent="-560241"/>
            <a:r>
              <a:rPr lang="en-US" cap="small" dirty="0">
                <a:solidFill>
                  <a:schemeClr val="tx1"/>
                </a:solidFill>
              </a:rPr>
              <a:t>Execution / management </a:t>
            </a:r>
            <a:br>
              <a:rPr lang="en-US" cap="small" dirty="0">
                <a:solidFill>
                  <a:schemeClr val="tx1"/>
                </a:solidFill>
              </a:rPr>
            </a:br>
            <a:r>
              <a:rPr lang="en-US" cap="small" dirty="0">
                <a:solidFill>
                  <a:schemeClr val="tx1"/>
                </a:solidFill>
              </a:rPr>
              <a:t>by SSMS and SQL Agent</a:t>
            </a:r>
          </a:p>
        </p:txBody>
      </p:sp>
      <p:grpSp>
        <p:nvGrpSpPr>
          <p:cNvPr id="4" name="Group 3"/>
          <p:cNvGrpSpPr/>
          <p:nvPr/>
        </p:nvGrpSpPr>
        <p:grpSpPr>
          <a:xfrm>
            <a:off x="5560827" y="1833952"/>
            <a:ext cx="6212529" cy="4643505"/>
            <a:chOff x="579109" y="2121383"/>
            <a:chExt cx="6553200" cy="4736617"/>
          </a:xfrm>
        </p:grpSpPr>
        <p:sp>
          <p:nvSpPr>
            <p:cNvPr id="5" name="TextBox 4"/>
            <p:cNvSpPr txBox="1"/>
            <p:nvPr/>
          </p:nvSpPr>
          <p:spPr>
            <a:xfrm>
              <a:off x="4706262" y="4393951"/>
              <a:ext cx="1350589" cy="276999"/>
            </a:xfrm>
            <a:prstGeom prst="rect">
              <a:avLst/>
            </a:prstGeom>
            <a:noFill/>
          </p:spPr>
          <p:txBody>
            <a:bodyPr wrap="square" rtlCol="0">
              <a:spAutoFit/>
            </a:bodyPr>
            <a:lstStyle/>
            <a:p>
              <a:pPr defTabSz="914367"/>
              <a:r>
                <a:rPr lang="en-US" sz="1176" dirty="0">
                  <a:solidFill>
                    <a:srgbClr val="0070C0"/>
                  </a:solidFill>
                  <a:latin typeface="Segoe UI Semilight"/>
                </a:rPr>
                <a:t>Execute/Manage</a:t>
              </a:r>
              <a:endParaRPr lang="en-US" sz="1765" dirty="0">
                <a:solidFill>
                  <a:srgbClr val="0070C0"/>
                </a:solidFill>
                <a:latin typeface="Segoe UI Semilight"/>
              </a:endParaRPr>
            </a:p>
          </p:txBody>
        </p:sp>
        <p:sp>
          <p:nvSpPr>
            <p:cNvPr id="6" name="TextBox 5"/>
            <p:cNvSpPr txBox="1"/>
            <p:nvPr/>
          </p:nvSpPr>
          <p:spPr>
            <a:xfrm>
              <a:off x="4236710" y="2334883"/>
              <a:ext cx="838459" cy="276999"/>
            </a:xfrm>
            <a:prstGeom prst="rect">
              <a:avLst/>
            </a:prstGeom>
            <a:noFill/>
          </p:spPr>
          <p:txBody>
            <a:bodyPr wrap="square" rtlCol="0">
              <a:spAutoFit/>
            </a:bodyPr>
            <a:lstStyle/>
            <a:p>
              <a:pPr defTabSz="914367"/>
              <a:r>
                <a:rPr lang="en-US" sz="1176" dirty="0">
                  <a:solidFill>
                    <a:srgbClr val="0070C0"/>
                  </a:solidFill>
                  <a:latin typeface="Segoe UI Semilight"/>
                </a:rPr>
                <a:t>Provision</a:t>
              </a:r>
              <a:endParaRPr lang="en-US" sz="1765" dirty="0">
                <a:solidFill>
                  <a:srgbClr val="0070C0"/>
                </a:solidFill>
                <a:latin typeface="Segoe UI Semilight"/>
              </a:endParaRPr>
            </a:p>
          </p:txBody>
        </p:sp>
        <p:sp>
          <p:nvSpPr>
            <p:cNvPr id="7" name="TextBox 6"/>
            <p:cNvSpPr txBox="1"/>
            <p:nvPr/>
          </p:nvSpPr>
          <p:spPr>
            <a:xfrm>
              <a:off x="4237694" y="3093812"/>
              <a:ext cx="723470" cy="461665"/>
            </a:xfrm>
            <a:prstGeom prst="rect">
              <a:avLst/>
            </a:prstGeom>
            <a:noFill/>
            <a:ln>
              <a:noFill/>
            </a:ln>
          </p:spPr>
          <p:txBody>
            <a:bodyPr wrap="square" rtlCol="0">
              <a:spAutoFit/>
            </a:bodyPr>
            <a:lstStyle/>
            <a:p>
              <a:pPr defTabSz="914367"/>
              <a:r>
                <a:rPr lang="en-US" sz="1176" dirty="0">
                  <a:solidFill>
                    <a:srgbClr val="00B050"/>
                  </a:solidFill>
                  <a:latin typeface="Segoe UI Semilight"/>
                </a:rPr>
                <a:t>Author/ </a:t>
              </a:r>
            </a:p>
            <a:p>
              <a:pPr defTabSz="914367"/>
              <a:r>
                <a:rPr lang="en-US" sz="1176" dirty="0">
                  <a:solidFill>
                    <a:srgbClr val="00B050"/>
                  </a:solidFill>
                  <a:latin typeface="Segoe UI Semilight"/>
                </a:rPr>
                <a:t>Deploy</a:t>
              </a:r>
            </a:p>
          </p:txBody>
        </p:sp>
        <p:sp>
          <p:nvSpPr>
            <p:cNvPr id="8" name="TextBox 7"/>
            <p:cNvSpPr txBox="1"/>
            <p:nvPr/>
          </p:nvSpPr>
          <p:spPr>
            <a:xfrm>
              <a:off x="4236709" y="2690694"/>
              <a:ext cx="838459" cy="461665"/>
            </a:xfrm>
            <a:prstGeom prst="rect">
              <a:avLst/>
            </a:prstGeom>
            <a:noFill/>
          </p:spPr>
          <p:txBody>
            <a:bodyPr wrap="square" rtlCol="0">
              <a:spAutoFit/>
            </a:bodyPr>
            <a:lstStyle/>
            <a:p>
              <a:pPr defTabSz="914367"/>
              <a:r>
                <a:rPr lang="en-US" sz="1176" dirty="0">
                  <a:solidFill>
                    <a:srgbClr val="FF0000"/>
                  </a:solidFill>
                  <a:latin typeface="Segoe UI Semilight"/>
                </a:rPr>
                <a:t>Execute/ Manage</a:t>
              </a:r>
              <a:endParaRPr lang="en-US" sz="1765" dirty="0">
                <a:solidFill>
                  <a:srgbClr val="FF0000"/>
                </a:solidFill>
                <a:latin typeface="Segoe UI Semilight"/>
              </a:endParaRPr>
            </a:p>
          </p:txBody>
        </p:sp>
        <p:cxnSp>
          <p:nvCxnSpPr>
            <p:cNvPr id="9" name="Straight Connector 8"/>
            <p:cNvCxnSpPr/>
            <p:nvPr/>
          </p:nvCxnSpPr>
          <p:spPr>
            <a:xfrm flipV="1">
              <a:off x="616803" y="4104790"/>
              <a:ext cx="6515506" cy="13194"/>
            </a:xfrm>
            <a:prstGeom prst="line">
              <a:avLst/>
            </a:prstGeom>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648033" y="4837133"/>
              <a:ext cx="1817942" cy="1072328"/>
              <a:chOff x="2315786" y="4074716"/>
              <a:chExt cx="1746151" cy="1228181"/>
            </a:xfrm>
          </p:grpSpPr>
          <p:pic>
            <p:nvPicPr>
              <p:cNvPr id="41" name="Picture 4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45014" y="4074716"/>
                <a:ext cx="1687697" cy="914623"/>
              </a:xfrm>
              <a:prstGeom prst="rect">
                <a:avLst/>
              </a:prstGeom>
            </p:spPr>
          </p:pic>
          <p:sp>
            <p:nvSpPr>
              <p:cNvPr id="42" name="TextBox 41"/>
              <p:cNvSpPr txBox="1"/>
              <p:nvPr/>
            </p:nvSpPr>
            <p:spPr>
              <a:xfrm>
                <a:off x="2315786" y="4985639"/>
                <a:ext cx="1746151" cy="317258"/>
              </a:xfrm>
              <a:prstGeom prst="rect">
                <a:avLst/>
              </a:prstGeom>
              <a:noFill/>
            </p:spPr>
            <p:txBody>
              <a:bodyPr wrap="square" rtlCol="0">
                <a:spAutoFit/>
              </a:bodyPr>
              <a:lstStyle/>
              <a:p>
                <a:pPr algn="ctr" defTabSz="914367"/>
                <a:r>
                  <a:rPr lang="en-US" sz="1176" b="1" dirty="0">
                    <a:solidFill>
                      <a:srgbClr val="353535"/>
                    </a:solidFill>
                    <a:latin typeface="Segoe UI Semilight"/>
                  </a:rPr>
                  <a:t>SSDT (ENTRY POINT)</a:t>
                </a:r>
              </a:p>
            </p:txBody>
          </p:sp>
        </p:grpSp>
        <p:grpSp>
          <p:nvGrpSpPr>
            <p:cNvPr id="11" name="Group 10"/>
            <p:cNvGrpSpPr/>
            <p:nvPr/>
          </p:nvGrpSpPr>
          <p:grpSpPr>
            <a:xfrm>
              <a:off x="5067158" y="4771363"/>
              <a:ext cx="1772470" cy="1138098"/>
              <a:chOff x="4618434" y="4030378"/>
              <a:chExt cx="1626975" cy="1297317"/>
            </a:xfrm>
          </p:grpSpPr>
          <p:pic>
            <p:nvPicPr>
              <p:cNvPr id="39" name="Picture 3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18435" y="4030378"/>
                <a:ext cx="1626974" cy="1003300"/>
              </a:xfrm>
              <a:prstGeom prst="rect">
                <a:avLst/>
              </a:prstGeom>
            </p:spPr>
          </p:pic>
          <p:sp>
            <p:nvSpPr>
              <p:cNvPr id="40" name="TextBox 39"/>
              <p:cNvSpPr txBox="1"/>
              <p:nvPr/>
            </p:nvSpPr>
            <p:spPr>
              <a:xfrm>
                <a:off x="4618434" y="5011944"/>
                <a:ext cx="1626974" cy="315751"/>
              </a:xfrm>
              <a:prstGeom prst="rect">
                <a:avLst/>
              </a:prstGeom>
              <a:noFill/>
            </p:spPr>
            <p:txBody>
              <a:bodyPr wrap="square" rtlCol="0">
                <a:spAutoFit/>
              </a:bodyPr>
              <a:lstStyle/>
              <a:p>
                <a:pPr algn="ctr" defTabSz="914367"/>
                <a:r>
                  <a:rPr lang="en-US" sz="1176" b="1" dirty="0">
                    <a:solidFill>
                      <a:srgbClr val="353535"/>
                    </a:solidFill>
                    <a:latin typeface="Segoe UI Semilight"/>
                  </a:rPr>
                  <a:t>SSMS (ENTRY POINT)</a:t>
                </a:r>
              </a:p>
            </p:txBody>
          </p:sp>
        </p:grpSp>
        <p:sp>
          <p:nvSpPr>
            <p:cNvPr id="12" name="TextBox 11"/>
            <p:cNvSpPr txBox="1"/>
            <p:nvPr/>
          </p:nvSpPr>
          <p:spPr>
            <a:xfrm>
              <a:off x="587312" y="3838966"/>
              <a:ext cx="1187118" cy="307777"/>
            </a:xfrm>
            <a:prstGeom prst="rect">
              <a:avLst/>
            </a:prstGeom>
            <a:noFill/>
          </p:spPr>
          <p:txBody>
            <a:bodyPr wrap="square" rtlCol="0">
              <a:spAutoFit/>
            </a:bodyPr>
            <a:lstStyle/>
            <a:p>
              <a:pPr defTabSz="914367"/>
              <a:r>
                <a:rPr lang="en-US" sz="1372" b="1" dirty="0">
                  <a:solidFill>
                    <a:srgbClr val="353535"/>
                  </a:solidFill>
                  <a:latin typeface="Segoe UI Semilight"/>
                </a:rPr>
                <a:t>Cloud</a:t>
              </a:r>
            </a:p>
          </p:txBody>
        </p:sp>
        <p:sp>
          <p:nvSpPr>
            <p:cNvPr id="13" name="TextBox 12"/>
            <p:cNvSpPr txBox="1"/>
            <p:nvPr/>
          </p:nvSpPr>
          <p:spPr>
            <a:xfrm>
              <a:off x="579109" y="4126439"/>
              <a:ext cx="1187118" cy="307777"/>
            </a:xfrm>
            <a:prstGeom prst="rect">
              <a:avLst/>
            </a:prstGeom>
            <a:noFill/>
          </p:spPr>
          <p:txBody>
            <a:bodyPr wrap="square" rtlCol="0">
              <a:spAutoFit/>
            </a:bodyPr>
            <a:lstStyle/>
            <a:p>
              <a:pPr defTabSz="914367"/>
              <a:r>
                <a:rPr lang="en-US" sz="1372" b="1" dirty="0">
                  <a:solidFill>
                    <a:srgbClr val="353535"/>
                  </a:solidFill>
                  <a:latin typeface="Segoe UI Semilight"/>
                </a:rPr>
                <a:t>On-Premises</a:t>
              </a:r>
            </a:p>
          </p:txBody>
        </p:sp>
        <p:sp>
          <p:nvSpPr>
            <p:cNvPr id="14" name="TextBox 13"/>
            <p:cNvSpPr txBox="1"/>
            <p:nvPr/>
          </p:nvSpPr>
          <p:spPr>
            <a:xfrm>
              <a:off x="1744670" y="4395114"/>
              <a:ext cx="1197602" cy="276999"/>
            </a:xfrm>
            <a:prstGeom prst="rect">
              <a:avLst/>
            </a:prstGeom>
            <a:noFill/>
          </p:spPr>
          <p:txBody>
            <a:bodyPr wrap="square" rtlCol="0">
              <a:spAutoFit/>
            </a:bodyPr>
            <a:lstStyle/>
            <a:p>
              <a:pPr defTabSz="914367"/>
              <a:r>
                <a:rPr lang="en-US" sz="1176" dirty="0">
                  <a:solidFill>
                    <a:srgbClr val="0070C0"/>
                  </a:solidFill>
                  <a:latin typeface="Segoe UI Semilight"/>
                </a:rPr>
                <a:t>Author/Deploy</a:t>
              </a:r>
              <a:endParaRPr lang="en-US" sz="1765" dirty="0">
                <a:solidFill>
                  <a:srgbClr val="0070C0"/>
                </a:solidFill>
                <a:latin typeface="Segoe UI Semilight"/>
              </a:endParaRPr>
            </a:p>
          </p:txBody>
        </p:sp>
        <p:sp>
          <p:nvSpPr>
            <p:cNvPr id="15" name="Rectangle 14"/>
            <p:cNvSpPr/>
            <p:nvPr/>
          </p:nvSpPr>
          <p:spPr>
            <a:xfrm>
              <a:off x="3282887" y="6006877"/>
              <a:ext cx="1210959" cy="851123"/>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2" b="1" dirty="0">
                  <a:solidFill>
                    <a:srgbClr val="353535"/>
                  </a:solidFill>
                  <a:latin typeface="Segoe UI Semilight"/>
                </a:rPr>
                <a:t>SSIS Server</a:t>
              </a:r>
            </a:p>
          </p:txBody>
        </p:sp>
        <p:cxnSp>
          <p:nvCxnSpPr>
            <p:cNvPr id="16" name="Straight Arrow Connector 15"/>
            <p:cNvCxnSpPr/>
            <p:nvPr/>
          </p:nvCxnSpPr>
          <p:spPr>
            <a:xfrm>
              <a:off x="1557005" y="5635695"/>
              <a:ext cx="1600410" cy="796744"/>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4579815" y="5651530"/>
              <a:ext cx="1373579" cy="780909"/>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1744670" y="5931110"/>
              <a:ext cx="1197602" cy="276999"/>
            </a:xfrm>
            <a:prstGeom prst="rect">
              <a:avLst/>
            </a:prstGeom>
            <a:noFill/>
          </p:spPr>
          <p:txBody>
            <a:bodyPr wrap="square" rtlCol="0">
              <a:spAutoFit/>
            </a:bodyPr>
            <a:lstStyle/>
            <a:p>
              <a:pPr defTabSz="914367"/>
              <a:r>
                <a:rPr lang="en-US" sz="1176" dirty="0">
                  <a:solidFill>
                    <a:srgbClr val="0070C0"/>
                  </a:solidFill>
                  <a:latin typeface="Segoe UI Semilight"/>
                </a:rPr>
                <a:t>Author/Deploy</a:t>
              </a:r>
              <a:endParaRPr lang="en-US" sz="1765" dirty="0">
                <a:solidFill>
                  <a:srgbClr val="0070C0"/>
                </a:solidFill>
                <a:latin typeface="Segoe UI Semilight"/>
              </a:endParaRPr>
            </a:p>
          </p:txBody>
        </p:sp>
        <p:sp>
          <p:nvSpPr>
            <p:cNvPr id="19" name="TextBox 18"/>
            <p:cNvSpPr txBox="1"/>
            <p:nvPr/>
          </p:nvSpPr>
          <p:spPr>
            <a:xfrm>
              <a:off x="4705008" y="5928529"/>
              <a:ext cx="1915936" cy="276999"/>
            </a:xfrm>
            <a:prstGeom prst="rect">
              <a:avLst/>
            </a:prstGeom>
            <a:noFill/>
          </p:spPr>
          <p:txBody>
            <a:bodyPr wrap="square" rtlCol="0">
              <a:spAutoFit/>
            </a:bodyPr>
            <a:lstStyle/>
            <a:p>
              <a:pPr defTabSz="914367"/>
              <a:r>
                <a:rPr lang="en-US" sz="1176" dirty="0">
                  <a:solidFill>
                    <a:srgbClr val="0070C0"/>
                  </a:solidFill>
                  <a:latin typeface="Segoe UI Semilight"/>
                </a:rPr>
                <a:t>Execute/Manage</a:t>
              </a:r>
              <a:endParaRPr lang="en-US" sz="1765" dirty="0">
                <a:solidFill>
                  <a:srgbClr val="0070C0"/>
                </a:solidFill>
                <a:latin typeface="Segoe UI Semilight"/>
              </a:endParaRPr>
            </a:p>
          </p:txBody>
        </p:sp>
        <p:sp>
          <p:nvSpPr>
            <p:cNvPr id="22" name="Cloud 21"/>
            <p:cNvSpPr/>
            <p:nvPr/>
          </p:nvSpPr>
          <p:spPr>
            <a:xfrm>
              <a:off x="4981533" y="2300616"/>
              <a:ext cx="2002457" cy="1375529"/>
            </a:xfrm>
            <a:prstGeom prst="cloud">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2" b="1" dirty="0">
                  <a:solidFill>
                    <a:srgbClr val="353535"/>
                  </a:solidFill>
                  <a:latin typeface="Segoe UI Semilight"/>
                </a:rPr>
                <a:t>SSIS PaaS </a:t>
              </a:r>
              <a:r>
                <a:rPr lang="en-US" sz="1176" dirty="0">
                  <a:solidFill>
                    <a:srgbClr val="353535"/>
                  </a:solidFill>
                  <a:latin typeface="Segoe UI Semilight"/>
                </a:rPr>
                <a:t>on ADF compute resource</a:t>
              </a:r>
            </a:p>
          </p:txBody>
        </p:sp>
        <p:grpSp>
          <p:nvGrpSpPr>
            <p:cNvPr id="23" name="Group 22"/>
            <p:cNvGrpSpPr/>
            <p:nvPr/>
          </p:nvGrpSpPr>
          <p:grpSpPr>
            <a:xfrm>
              <a:off x="1933488" y="2121383"/>
              <a:ext cx="1756987" cy="1608901"/>
              <a:chOff x="-596701" y="1391100"/>
              <a:chExt cx="1756987" cy="1608901"/>
            </a:xfrm>
          </p:grpSpPr>
          <p:pic>
            <p:nvPicPr>
              <p:cNvPr id="34" name="Picture 3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6701" y="2146282"/>
                <a:ext cx="1756987" cy="853719"/>
              </a:xfrm>
              <a:prstGeom prst="rect">
                <a:avLst/>
              </a:prstGeom>
            </p:spPr>
          </p:pic>
          <p:sp>
            <p:nvSpPr>
              <p:cNvPr id="35" name="TextBox 34"/>
              <p:cNvSpPr txBox="1"/>
              <p:nvPr/>
            </p:nvSpPr>
            <p:spPr>
              <a:xfrm>
                <a:off x="-507594" y="1391100"/>
                <a:ext cx="1597434" cy="646331"/>
              </a:xfrm>
              <a:prstGeom prst="rect">
                <a:avLst/>
              </a:prstGeom>
              <a:noFill/>
            </p:spPr>
            <p:txBody>
              <a:bodyPr wrap="square" rtlCol="0">
                <a:spAutoFit/>
              </a:bodyPr>
              <a:lstStyle/>
              <a:p>
                <a:pPr algn="ctr" defTabSz="914367"/>
                <a:r>
                  <a:rPr lang="en-US" sz="1176" b="1" dirty="0">
                    <a:solidFill>
                      <a:srgbClr val="353535"/>
                    </a:solidFill>
                    <a:latin typeface="Segoe UI Semilight"/>
                  </a:rPr>
                  <a:t>ADF (</a:t>
                </a:r>
                <a:r>
                  <a:rPr lang="en-US" sz="1176" b="1" dirty="0">
                    <a:solidFill>
                      <a:srgbClr val="0070C0"/>
                    </a:solidFill>
                    <a:latin typeface="Segoe UI Semilight"/>
                  </a:rPr>
                  <a:t>ENTRY POINT</a:t>
                </a:r>
                <a:r>
                  <a:rPr lang="en-US" sz="1176" b="1" dirty="0">
                    <a:solidFill>
                      <a:srgbClr val="353535"/>
                    </a:solidFill>
                    <a:latin typeface="Segoe UI Semilight"/>
                  </a:rPr>
                  <a:t>,  </a:t>
                </a:r>
                <a:r>
                  <a:rPr lang="en-US" sz="1176" b="1" dirty="0">
                    <a:solidFill>
                      <a:srgbClr val="FF0000"/>
                    </a:solidFill>
                    <a:latin typeface="Segoe UI Semilight"/>
                  </a:rPr>
                  <a:t>ORCHESTRATION</a:t>
                </a:r>
                <a:r>
                  <a:rPr lang="en-US" sz="1176" b="1" dirty="0">
                    <a:solidFill>
                      <a:srgbClr val="353535"/>
                    </a:solidFill>
                    <a:latin typeface="Segoe UI Semilight"/>
                  </a:rPr>
                  <a:t>, </a:t>
                </a:r>
                <a:r>
                  <a:rPr lang="en-US" sz="1176" b="1" dirty="0">
                    <a:solidFill>
                      <a:srgbClr val="00B050"/>
                    </a:solidFill>
                    <a:latin typeface="Segoe UI Semilight"/>
                  </a:rPr>
                  <a:t>DESIGN</a:t>
                </a:r>
                <a:r>
                  <a:rPr lang="en-US" sz="1176" b="1" dirty="0">
                    <a:solidFill>
                      <a:srgbClr val="353535"/>
                    </a:solidFill>
                    <a:latin typeface="Segoe UI Semilight"/>
                  </a:rPr>
                  <a:t>)</a:t>
                </a:r>
              </a:p>
            </p:txBody>
          </p:sp>
        </p:grpSp>
        <p:cxnSp>
          <p:nvCxnSpPr>
            <p:cNvPr id="24" name="Straight Arrow Connector 23"/>
            <p:cNvCxnSpPr/>
            <p:nvPr/>
          </p:nvCxnSpPr>
          <p:spPr>
            <a:xfrm flipV="1">
              <a:off x="1557005" y="3602709"/>
              <a:ext cx="4105971" cy="1234427"/>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endCxn id="22" idx="1"/>
            </p:cNvCxnSpPr>
            <p:nvPr/>
          </p:nvCxnSpPr>
          <p:spPr>
            <a:xfrm flipV="1">
              <a:off x="5953394" y="3674680"/>
              <a:ext cx="29368" cy="1096688"/>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4265424" y="3322150"/>
              <a:ext cx="696661" cy="356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4280560" y="2917776"/>
              <a:ext cx="668627" cy="279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4280054" y="2566776"/>
              <a:ext cx="669133" cy="648"/>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grpSp>
      <p:sp>
        <p:nvSpPr>
          <p:cNvPr id="46" name="TextBox 45"/>
          <p:cNvSpPr txBox="1"/>
          <p:nvPr/>
        </p:nvSpPr>
        <p:spPr>
          <a:xfrm>
            <a:off x="9615291" y="1286407"/>
            <a:ext cx="2513717" cy="724143"/>
          </a:xfrm>
          <a:prstGeom prst="rect">
            <a:avLst/>
          </a:prstGeom>
          <a:noFill/>
        </p:spPr>
        <p:txBody>
          <a:bodyPr wrap="square" lIns="179285" tIns="143428" rIns="179285" bIns="143428" rtlCol="0">
            <a:spAutoFit/>
          </a:bodyPr>
          <a:lstStyle/>
          <a:p>
            <a:pPr defTabSz="914367">
              <a:lnSpc>
                <a:spcPct val="90000"/>
              </a:lnSpc>
              <a:spcAft>
                <a:spcPts val="588"/>
              </a:spcAft>
            </a:pPr>
            <a:r>
              <a:rPr lang="en-US" sz="1568" dirty="0">
                <a:gradFill>
                  <a:gsLst>
                    <a:gs pos="2917">
                      <a:srgbClr val="353535"/>
                    </a:gs>
                    <a:gs pos="30000">
                      <a:srgbClr val="353535"/>
                    </a:gs>
                  </a:gsLst>
                  <a:lin ang="5400000" scaled="0"/>
                </a:gradFill>
                <a:latin typeface="Segoe UI Semilight"/>
              </a:rPr>
              <a:t>Provisioned on-demand, tunable scale</a:t>
            </a:r>
          </a:p>
        </p:txBody>
      </p:sp>
    </p:spTree>
    <p:extLst>
      <p:ext uri="{BB962C8B-B14F-4D97-AF65-F5344CB8AC3E}">
        <p14:creationId xmlns:p14="http://schemas.microsoft.com/office/powerpoint/2010/main" val="23921702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57596" y="117163"/>
            <a:ext cx="12034404" cy="1680460"/>
          </a:xfrm>
        </p:spPr>
        <p:txBody>
          <a:bodyPr/>
          <a:lstStyle/>
          <a:p>
            <a:r>
              <a:rPr lang="en-US" sz="5400" dirty="0"/>
              <a:t>Demo: </a:t>
            </a:r>
            <a:br>
              <a:rPr lang="en-US" sz="5400" dirty="0"/>
            </a:br>
            <a:r>
              <a:rPr lang="en-US" sz="5400" dirty="0"/>
              <a:t>Migrate Easily to Managed Instance</a:t>
            </a:r>
          </a:p>
        </p:txBody>
      </p:sp>
      <p:sp>
        <p:nvSpPr>
          <p:cNvPr id="2" name="AutoShape 2" descr="Instance subnet &#10;Managed Instance#l &#10;Managedlnstance #2 &#10;Managed Instance#3 &#10;VNET &#10;REPOINTAPP &#10;RESTORE &#10;Front end subnet &#10;Customer app &#10;ClientVM &#10;BACKUPTO AZURE &#10;EXECUTION (AGENT) &#10;storage account &#10;sys PaaS(Everest) &#10;sys is OPTIONAL in this step &#10;Another variantcan be simpleindex &#10;mai ntenance ">
            <a:extLst>
              <a:ext uri="{FF2B5EF4-FFF2-40B4-BE49-F238E27FC236}">
                <a16:creationId xmlns:a16="http://schemas.microsoft.com/office/drawing/2014/main" id="{FA81B6CF-60FF-49E5-9BB2-1DF57D67EC93}"/>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4" descr="Instance subnet &#10;Managed Instance#l &#10;Managedlnstance #2 &#10;Managed Instance#3 &#10;VNET &#10;REPOINTAPP &#10;RESTORE &#10;Front end subnet &#10;Customer app &#10;ClientVM &#10;BACKUPTO AZURE &#10;EXECUTION (AGENT) &#10;storage account &#10;sys PaaS(Everest) &#10;sys is OPTIONAL in this step &#10;Another variantcan be simpleindex &#10;mai ntenance ">
            <a:extLst>
              <a:ext uri="{FF2B5EF4-FFF2-40B4-BE49-F238E27FC236}">
                <a16:creationId xmlns:a16="http://schemas.microsoft.com/office/drawing/2014/main" id="{80E7A1AB-31F3-4BA9-8B29-CECE953A75B9}"/>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5">
            <a:extLst>
              <a:ext uri="{FF2B5EF4-FFF2-40B4-BE49-F238E27FC236}">
                <a16:creationId xmlns:a16="http://schemas.microsoft.com/office/drawing/2014/main" id="{4F7CC45F-DDEB-4674-8C58-DBEE248D8EA4}"/>
              </a:ext>
            </a:extLst>
          </p:cNvPr>
          <p:cNvPicPr>
            <a:picLocks noChangeAspect="1"/>
          </p:cNvPicPr>
          <p:nvPr/>
        </p:nvPicPr>
        <p:blipFill>
          <a:blip r:embed="rId3"/>
          <a:stretch>
            <a:fillRect/>
          </a:stretch>
        </p:blipFill>
        <p:spPr>
          <a:xfrm>
            <a:off x="1425229" y="2004183"/>
            <a:ext cx="8632447" cy="4177955"/>
          </a:xfrm>
          <a:prstGeom prst="rect">
            <a:avLst/>
          </a:prstGeom>
        </p:spPr>
      </p:pic>
    </p:spTree>
    <p:extLst>
      <p:ext uri="{BB962C8B-B14F-4D97-AF65-F5344CB8AC3E}">
        <p14:creationId xmlns:p14="http://schemas.microsoft.com/office/powerpoint/2010/main" val="4151172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6664" y="179293"/>
            <a:ext cx="11381306" cy="892425"/>
          </a:xfrm>
        </p:spPr>
        <p:txBody>
          <a:bodyPr/>
          <a:lstStyle/>
          <a:p>
            <a:r>
              <a:rPr lang="en-US" sz="3137" cap="all" spc="500" dirty="0">
                <a:solidFill>
                  <a:schemeClr val="tx2"/>
                </a:solidFill>
                <a:latin typeface="Segoe UI Semilight" charset="0"/>
                <a:cs typeface="Segoe UI Semilight" charset="0"/>
              </a:rPr>
              <a:t>DATA CDN for your Edge </a:t>
            </a:r>
            <a:br>
              <a:rPr lang="en-US" sz="5399" dirty="0">
                <a:latin typeface="Segoe UI Light" panose="020B0502040204020203" pitchFamily="34" charset="0"/>
                <a:cs typeface="Segoe UI Light" panose="020B0502040204020203" pitchFamily="34" charset="0"/>
              </a:rPr>
            </a:br>
            <a:r>
              <a:rPr lang="en-US" sz="2353" kern="0" spc="100" dirty="0">
                <a:ln>
                  <a:noFill/>
                </a:ln>
                <a:solidFill>
                  <a:schemeClr val="tx2"/>
                </a:solidFill>
                <a:latin typeface="Segoe UI Semibold" charset="0"/>
                <a:cs typeface="Segoe UI Semibold" charset="0"/>
              </a:rPr>
              <a:t>Geo-Replication to edges of your deployments</a:t>
            </a:r>
          </a:p>
        </p:txBody>
      </p:sp>
      <p:sp>
        <p:nvSpPr>
          <p:cNvPr id="4" name="Content Placeholder 2"/>
          <p:cNvSpPr>
            <a:spLocks noGrp="1"/>
          </p:cNvSpPr>
          <p:nvPr>
            <p:ph type="body" sz="quarter" idx="4294967295"/>
          </p:nvPr>
        </p:nvSpPr>
        <p:spPr>
          <a:xfrm>
            <a:off x="7450922" y="2046937"/>
            <a:ext cx="4732687" cy="3538533"/>
          </a:xfrm>
        </p:spPr>
        <p:txBody>
          <a:bodyPr/>
          <a:lstStyle/>
          <a:p>
            <a:pPr marL="228556" indent="-228556">
              <a:spcBef>
                <a:spcPts val="1800"/>
              </a:spcBef>
            </a:pPr>
            <a:r>
              <a:rPr lang="en-US" sz="2353" kern="0" spc="100" dirty="0">
                <a:solidFill>
                  <a:schemeClr val="tx2"/>
                </a:solidFill>
                <a:latin typeface="Segoe UI Semibold" charset="0"/>
                <a:cs typeface="Segoe UI Semibold" charset="0"/>
              </a:rPr>
              <a:t>Automatic failover policy </a:t>
            </a:r>
          </a:p>
          <a:p>
            <a:pPr marL="224097" lvl="1" indent="0">
              <a:spcBef>
                <a:spcPts val="0"/>
              </a:spcBef>
              <a:spcAft>
                <a:spcPts val="588"/>
              </a:spcAft>
              <a:buNone/>
            </a:pPr>
            <a:r>
              <a:rPr lang="en-US" sz="1765" kern="0" dirty="0">
                <a:solidFill>
                  <a:srgbClr val="0078D7"/>
                </a:solidFill>
                <a:latin typeface="Segoe UI Semilight" panose="020B0402040204020203" pitchFamily="34" charset="0"/>
                <a:cs typeface="Segoe UI Semilight" panose="020B0402040204020203" pitchFamily="34" charset="0"/>
              </a:rPr>
              <a:t>Replicas are automatically points to the new primary afterward</a:t>
            </a:r>
          </a:p>
          <a:p>
            <a:pPr marL="228556" indent="-228556">
              <a:spcBef>
                <a:spcPts val="1800"/>
              </a:spcBef>
            </a:pPr>
            <a:r>
              <a:rPr lang="en-US" sz="2353" kern="0" spc="100" dirty="0">
                <a:solidFill>
                  <a:schemeClr val="tx2"/>
                </a:solidFill>
                <a:latin typeface="Segoe UI Semibold" charset="0"/>
                <a:cs typeface="Segoe UI Semibold" charset="0"/>
              </a:rPr>
              <a:t>Replicas to fit your topology </a:t>
            </a:r>
          </a:p>
          <a:p>
            <a:pPr marL="224097" lvl="1" indent="0">
              <a:lnSpc>
                <a:spcPct val="100000"/>
              </a:lnSpc>
              <a:spcBef>
                <a:spcPts val="0"/>
              </a:spcBef>
              <a:spcAft>
                <a:spcPts val="588"/>
              </a:spcAft>
              <a:buNone/>
            </a:pPr>
            <a:r>
              <a:rPr lang="en-US" sz="1765" kern="0" dirty="0">
                <a:solidFill>
                  <a:srgbClr val="0078D7"/>
                </a:solidFill>
                <a:latin typeface="Segoe UI Semilight" panose="020B0402040204020203" pitchFamily="34" charset="0"/>
                <a:cs typeface="Segoe UI Semilight" panose="020B0402040204020203" pitchFamily="34" charset="0"/>
              </a:rPr>
              <a:t>Same region or different region</a:t>
            </a:r>
          </a:p>
          <a:p>
            <a:pPr marL="224097" lvl="1" indent="0">
              <a:lnSpc>
                <a:spcPct val="100000"/>
              </a:lnSpc>
              <a:spcBef>
                <a:spcPts val="0"/>
              </a:spcBef>
              <a:spcAft>
                <a:spcPts val="588"/>
              </a:spcAft>
              <a:buNone/>
            </a:pPr>
            <a:r>
              <a:rPr lang="en-US" sz="1765" kern="0" dirty="0">
                <a:solidFill>
                  <a:srgbClr val="0078D7"/>
                </a:solidFill>
                <a:latin typeface="Segoe UI Semilight" panose="020B0402040204020203" pitchFamily="34" charset="0"/>
                <a:cs typeface="Segoe UI Semilight" panose="020B0402040204020203" pitchFamily="34" charset="0"/>
              </a:rPr>
              <a:t>Available in all 38 Azure regions! </a:t>
            </a:r>
          </a:p>
          <a:p>
            <a:pPr marL="228556" indent="-228556">
              <a:spcBef>
                <a:spcPts val="1800"/>
              </a:spcBef>
            </a:pPr>
            <a:r>
              <a:rPr lang="en-US" sz="2353" kern="0" spc="100" dirty="0">
                <a:solidFill>
                  <a:schemeClr val="tx2"/>
                </a:solidFill>
                <a:latin typeface="Segoe UI Semibold" charset="0"/>
                <a:cs typeface="Segoe UI Semibold" charset="0"/>
              </a:rPr>
              <a:t>REST API, PowerShell or Azure Portal </a:t>
            </a:r>
          </a:p>
        </p:txBody>
      </p:sp>
      <p:sp>
        <p:nvSpPr>
          <p:cNvPr id="3" name="Rectangle 2"/>
          <p:cNvSpPr/>
          <p:nvPr/>
        </p:nvSpPr>
        <p:spPr bwMode="auto">
          <a:xfrm>
            <a:off x="356677" y="1948251"/>
            <a:ext cx="6742571" cy="4600448"/>
          </a:xfrm>
          <a:prstGeom prst="rect">
            <a:avLst/>
          </a:prstGeom>
          <a:solidFill>
            <a:srgbClr val="FFFFFF">
              <a:lumMod val="95000"/>
            </a:srgbClr>
          </a:solidFill>
          <a:ln w="6350"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330" fontAlgn="base">
              <a:spcBef>
                <a:spcPts val="196"/>
              </a:spcBef>
              <a:spcAft>
                <a:spcPts val="784"/>
              </a:spcAft>
              <a:defRPr/>
            </a:pPr>
            <a:endParaRPr lang="en-US" sz="1961" kern="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65" name="Rectangle 336"/>
          <p:cNvSpPr/>
          <p:nvPr/>
        </p:nvSpPr>
        <p:spPr bwMode="auto">
          <a:xfrm>
            <a:off x="216877" y="5725800"/>
            <a:ext cx="2267077" cy="989479"/>
          </a:xfrm>
          <a:prstGeom prst="rect">
            <a:avLst/>
          </a:prstGeom>
          <a:pattFill prst="ltUpDiag">
            <a:fgClr>
              <a:srgbClr val="FFFFFF">
                <a:lumMod val="85000"/>
              </a:srgbClr>
            </a:fgClr>
            <a:bgClr>
              <a:srgbClr val="FFFFFF"/>
            </a:bgClr>
          </a:patt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solidFill>
                <a:srgbClr val="D2D2D2">
                  <a:lumMod val="50000"/>
                </a:srgbClr>
              </a:solidFill>
              <a:latin typeface="Segoe UI Semilight"/>
              <a:ea typeface="Segoe UI" pitchFamily="34" charset="0"/>
              <a:cs typeface="Segoe UI" pitchFamily="34" charset="0"/>
            </a:endParaRPr>
          </a:p>
        </p:txBody>
      </p:sp>
      <p:sp>
        <p:nvSpPr>
          <p:cNvPr id="166" name="TextBox 338"/>
          <p:cNvSpPr txBox="1"/>
          <p:nvPr/>
        </p:nvSpPr>
        <p:spPr>
          <a:xfrm>
            <a:off x="376393" y="5828669"/>
            <a:ext cx="2264531" cy="821723"/>
          </a:xfrm>
          <a:prstGeom prst="rect">
            <a:avLst/>
          </a:prstGeom>
          <a:noFill/>
        </p:spPr>
        <p:txBody>
          <a:bodyPr wrap="square" lIns="182854" tIns="146284" rIns="182854" bIns="146284" rtlCol="0">
            <a:spAutoFit/>
          </a:bodyPr>
          <a:lstStyle/>
          <a:p>
            <a:pPr defTabSz="914367">
              <a:lnSpc>
                <a:spcPct val="90000"/>
              </a:lnSpc>
              <a:defRPr/>
            </a:pPr>
            <a:r>
              <a:rPr lang="en-US" kern="0" dirty="0">
                <a:solidFill>
                  <a:srgbClr val="D2D2D2">
                    <a:lumMod val="50000"/>
                  </a:srgbClr>
                </a:solidFill>
                <a:latin typeface="Segoe UI Light"/>
              </a:rPr>
              <a:t>Up to </a:t>
            </a:r>
            <a:r>
              <a:rPr lang="en-US" sz="2000" kern="0" dirty="0">
                <a:solidFill>
                  <a:srgbClr val="D2D2D2">
                    <a:lumMod val="50000"/>
                  </a:srgbClr>
                </a:solidFill>
                <a:latin typeface="Segoe UI Light"/>
              </a:rPr>
              <a:t>4</a:t>
            </a:r>
            <a:r>
              <a:rPr lang="en-US" kern="0" dirty="0">
                <a:solidFill>
                  <a:srgbClr val="D2D2D2">
                    <a:lumMod val="50000"/>
                  </a:srgbClr>
                </a:solidFill>
                <a:latin typeface="Segoe UI Light"/>
              </a:rPr>
              <a:t> secondaries</a:t>
            </a:r>
          </a:p>
        </p:txBody>
      </p:sp>
      <p:grpSp>
        <p:nvGrpSpPr>
          <p:cNvPr id="167" name="Group 166"/>
          <p:cNvGrpSpPr>
            <a:grpSpLocks noChangeAspect="1"/>
          </p:cNvGrpSpPr>
          <p:nvPr/>
        </p:nvGrpSpPr>
        <p:grpSpPr>
          <a:xfrm>
            <a:off x="546234" y="2460051"/>
            <a:ext cx="6513415" cy="3256550"/>
            <a:chOff x="4446296" y="2012156"/>
            <a:chExt cx="7745704" cy="3636481"/>
          </a:xfrm>
        </p:grpSpPr>
        <p:pic>
          <p:nvPicPr>
            <p:cNvPr id="168" name="Picture 167"/>
            <p:cNvPicPr>
              <a:picLocks noChangeAspect="1"/>
            </p:cNvPicPr>
            <p:nvPr/>
          </p:nvPicPr>
          <p:blipFill>
            <a:blip r:embed="rId3">
              <a:duotone>
                <a:srgbClr val="D2D2D2">
                  <a:shade val="45000"/>
                  <a:satMod val="135000"/>
                </a:srgbClr>
                <a:prstClr val="white"/>
              </a:duotone>
              <a:extLst>
                <a:ext uri="{28A0092B-C50C-407E-A947-70E740481C1C}">
                  <a14:useLocalDpi xmlns:a14="http://schemas.microsoft.com/office/drawing/2010/main" val="0"/>
                </a:ext>
              </a:extLst>
            </a:blip>
            <a:stretch>
              <a:fillRect/>
            </a:stretch>
          </p:blipFill>
          <p:spPr>
            <a:xfrm>
              <a:off x="4446296" y="2012156"/>
              <a:ext cx="7745704" cy="3636481"/>
            </a:xfrm>
            <a:prstGeom prst="rect">
              <a:avLst/>
            </a:prstGeom>
          </p:spPr>
        </p:pic>
        <p:grpSp>
          <p:nvGrpSpPr>
            <p:cNvPr id="169" name="Group 168"/>
            <p:cNvGrpSpPr/>
            <p:nvPr/>
          </p:nvGrpSpPr>
          <p:grpSpPr>
            <a:xfrm>
              <a:off x="5298510" y="3395627"/>
              <a:ext cx="288099" cy="288099"/>
              <a:chOff x="5298510" y="3607496"/>
              <a:chExt cx="288099" cy="288099"/>
            </a:xfrm>
          </p:grpSpPr>
          <p:sp>
            <p:nvSpPr>
              <p:cNvPr id="276" name="Oval 275"/>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7" name="Oval 276"/>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70" name="Group 169"/>
            <p:cNvGrpSpPr/>
            <p:nvPr/>
          </p:nvGrpSpPr>
          <p:grpSpPr>
            <a:xfrm>
              <a:off x="5721246" y="3608048"/>
              <a:ext cx="288099" cy="288099"/>
              <a:chOff x="5298510" y="3607496"/>
              <a:chExt cx="288099" cy="288099"/>
            </a:xfrm>
          </p:grpSpPr>
          <p:sp>
            <p:nvSpPr>
              <p:cNvPr id="274" name="Oval 273"/>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5" name="Oval 274"/>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71" name="Group 170"/>
            <p:cNvGrpSpPr/>
            <p:nvPr/>
          </p:nvGrpSpPr>
          <p:grpSpPr>
            <a:xfrm>
              <a:off x="6107060" y="3107528"/>
              <a:ext cx="288099" cy="288099"/>
              <a:chOff x="5298510" y="3607496"/>
              <a:chExt cx="288099" cy="288099"/>
            </a:xfrm>
          </p:grpSpPr>
          <p:sp>
            <p:nvSpPr>
              <p:cNvPr id="272" name="Oval 271"/>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3" name="Oval 272"/>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72" name="Group 171"/>
            <p:cNvGrpSpPr/>
            <p:nvPr/>
          </p:nvGrpSpPr>
          <p:grpSpPr>
            <a:xfrm>
              <a:off x="6288515" y="3378593"/>
              <a:ext cx="288099" cy="288099"/>
              <a:chOff x="5298510" y="3607496"/>
              <a:chExt cx="288099" cy="288099"/>
            </a:xfrm>
          </p:grpSpPr>
          <p:sp>
            <p:nvSpPr>
              <p:cNvPr id="270" name="Oval 269"/>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1" name="Oval 270"/>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73" name="Group 172"/>
            <p:cNvGrpSpPr/>
            <p:nvPr/>
          </p:nvGrpSpPr>
          <p:grpSpPr>
            <a:xfrm>
              <a:off x="7766078" y="2522238"/>
              <a:ext cx="1169454" cy="1169454"/>
              <a:chOff x="5321459" y="3630988"/>
              <a:chExt cx="236552" cy="236552"/>
            </a:xfrm>
          </p:grpSpPr>
          <p:sp>
            <p:nvSpPr>
              <p:cNvPr id="268" name="Oval 267"/>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9" name="Oval 268"/>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74" name="Group 173"/>
            <p:cNvGrpSpPr/>
            <p:nvPr/>
          </p:nvGrpSpPr>
          <p:grpSpPr>
            <a:xfrm>
              <a:off x="8171245" y="3013582"/>
              <a:ext cx="288099" cy="288099"/>
              <a:chOff x="5298510" y="3607496"/>
              <a:chExt cx="288099" cy="288099"/>
            </a:xfrm>
          </p:grpSpPr>
          <p:sp>
            <p:nvSpPr>
              <p:cNvPr id="266" name="Oval 265"/>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7" name="Oval 266"/>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75" name="Group 174"/>
            <p:cNvGrpSpPr/>
            <p:nvPr/>
          </p:nvGrpSpPr>
          <p:grpSpPr>
            <a:xfrm>
              <a:off x="10753694" y="5019834"/>
              <a:ext cx="288099" cy="288099"/>
              <a:chOff x="5298510" y="3607496"/>
              <a:chExt cx="288099" cy="288099"/>
            </a:xfrm>
          </p:grpSpPr>
          <p:sp>
            <p:nvSpPr>
              <p:cNvPr id="264" name="Oval 263"/>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5" name="Oval 264"/>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76" name="Group 175"/>
            <p:cNvGrpSpPr/>
            <p:nvPr/>
          </p:nvGrpSpPr>
          <p:grpSpPr>
            <a:xfrm>
              <a:off x="10628533" y="4634041"/>
              <a:ext cx="288099" cy="288099"/>
              <a:chOff x="5298510" y="3607496"/>
              <a:chExt cx="288099" cy="288099"/>
            </a:xfrm>
          </p:grpSpPr>
          <p:sp>
            <p:nvSpPr>
              <p:cNvPr id="262" name="Oval 261"/>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3" name="Oval 262"/>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77" name="Group 176"/>
            <p:cNvGrpSpPr/>
            <p:nvPr/>
          </p:nvGrpSpPr>
          <p:grpSpPr>
            <a:xfrm>
              <a:off x="10031509" y="4345942"/>
              <a:ext cx="288099" cy="288099"/>
              <a:chOff x="5298510" y="3607496"/>
              <a:chExt cx="288099" cy="288099"/>
            </a:xfrm>
          </p:grpSpPr>
          <p:sp>
            <p:nvSpPr>
              <p:cNvPr id="260" name="Oval 259"/>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1" name="Oval 260"/>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78" name="Group 177"/>
            <p:cNvGrpSpPr/>
            <p:nvPr/>
          </p:nvGrpSpPr>
          <p:grpSpPr>
            <a:xfrm>
              <a:off x="10501563" y="3607521"/>
              <a:ext cx="288099" cy="288099"/>
              <a:chOff x="5298510" y="3607496"/>
              <a:chExt cx="288099" cy="288099"/>
            </a:xfrm>
          </p:grpSpPr>
          <p:sp>
            <p:nvSpPr>
              <p:cNvPr id="258" name="Oval 257"/>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9" name="Oval 258"/>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79" name="Group 178"/>
            <p:cNvGrpSpPr/>
            <p:nvPr/>
          </p:nvGrpSpPr>
          <p:grpSpPr>
            <a:xfrm>
              <a:off x="10050120" y="3180678"/>
              <a:ext cx="288099" cy="288099"/>
              <a:chOff x="5298510" y="3607496"/>
              <a:chExt cx="288099" cy="288099"/>
            </a:xfrm>
          </p:grpSpPr>
          <p:sp>
            <p:nvSpPr>
              <p:cNvPr id="256" name="Oval 255"/>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7" name="Oval 256"/>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80" name="Group 179"/>
            <p:cNvGrpSpPr/>
            <p:nvPr/>
          </p:nvGrpSpPr>
          <p:grpSpPr>
            <a:xfrm>
              <a:off x="11041793" y="3011937"/>
              <a:ext cx="288099" cy="288099"/>
              <a:chOff x="5298510" y="3607496"/>
              <a:chExt cx="288099" cy="288099"/>
            </a:xfrm>
          </p:grpSpPr>
          <p:sp>
            <p:nvSpPr>
              <p:cNvPr id="254" name="Oval 253"/>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5" name="Oval 254"/>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81" name="Group 180"/>
            <p:cNvGrpSpPr/>
            <p:nvPr/>
          </p:nvGrpSpPr>
          <p:grpSpPr>
            <a:xfrm>
              <a:off x="10571806" y="3039155"/>
              <a:ext cx="288099" cy="288099"/>
              <a:chOff x="5298510" y="3607496"/>
              <a:chExt cx="288099" cy="288099"/>
            </a:xfrm>
          </p:grpSpPr>
          <p:sp>
            <p:nvSpPr>
              <p:cNvPr id="252" name="Oval 251"/>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3" name="Oval 252"/>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82" name="Group 181"/>
            <p:cNvGrpSpPr/>
            <p:nvPr/>
          </p:nvGrpSpPr>
          <p:grpSpPr>
            <a:xfrm>
              <a:off x="10243769" y="2877358"/>
              <a:ext cx="288099" cy="288099"/>
              <a:chOff x="5298510" y="3607496"/>
              <a:chExt cx="288099" cy="288099"/>
            </a:xfrm>
          </p:grpSpPr>
          <p:sp>
            <p:nvSpPr>
              <p:cNvPr id="250" name="Oval 249"/>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1" name="Oval 250"/>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83" name="Group 182"/>
            <p:cNvGrpSpPr/>
            <p:nvPr/>
          </p:nvGrpSpPr>
          <p:grpSpPr>
            <a:xfrm>
              <a:off x="6727969" y="4525893"/>
              <a:ext cx="288099" cy="288099"/>
              <a:chOff x="5298510" y="3607496"/>
              <a:chExt cx="288099" cy="288099"/>
            </a:xfrm>
          </p:grpSpPr>
          <p:sp>
            <p:nvSpPr>
              <p:cNvPr id="248" name="Oval 247"/>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9" name="Oval 248"/>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84" name="Group 332"/>
            <p:cNvGrpSpPr/>
            <p:nvPr/>
          </p:nvGrpSpPr>
          <p:grpSpPr>
            <a:xfrm>
              <a:off x="11264518" y="2767620"/>
              <a:ext cx="298768" cy="456738"/>
              <a:chOff x="11312677" y="4385379"/>
              <a:chExt cx="420734" cy="643192"/>
            </a:xfrm>
          </p:grpSpPr>
          <p:sp>
            <p:nvSpPr>
              <p:cNvPr id="237"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38"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39"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40"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41"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42"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43"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44"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45"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46"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47"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grpSp>
        <p:grpSp>
          <p:nvGrpSpPr>
            <p:cNvPr id="185" name="Group 332"/>
            <p:cNvGrpSpPr/>
            <p:nvPr/>
          </p:nvGrpSpPr>
          <p:grpSpPr>
            <a:xfrm>
              <a:off x="10020071" y="3701191"/>
              <a:ext cx="298768" cy="456738"/>
              <a:chOff x="11312677" y="4385379"/>
              <a:chExt cx="420734" cy="643192"/>
            </a:xfrm>
          </p:grpSpPr>
          <p:sp>
            <p:nvSpPr>
              <p:cNvPr id="226"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27"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28"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29"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30"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31"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32"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33"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34"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35"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36"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grpSp>
        <p:grpSp>
          <p:nvGrpSpPr>
            <p:cNvPr id="186" name="Group 332"/>
            <p:cNvGrpSpPr/>
            <p:nvPr/>
          </p:nvGrpSpPr>
          <p:grpSpPr>
            <a:xfrm>
              <a:off x="10642149" y="3327254"/>
              <a:ext cx="298768" cy="456738"/>
              <a:chOff x="11312677" y="4385379"/>
              <a:chExt cx="420734" cy="643192"/>
            </a:xfrm>
          </p:grpSpPr>
          <p:sp>
            <p:nvSpPr>
              <p:cNvPr id="215"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16"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17"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18"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19"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20"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21"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22"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23"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24"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25"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grpSp>
        <p:cxnSp>
          <p:nvCxnSpPr>
            <p:cNvPr id="187" name="Straight Connector 186"/>
            <p:cNvCxnSpPr>
              <a:endCxn id="226" idx="1"/>
            </p:cNvCxnSpPr>
            <p:nvPr/>
          </p:nvCxnSpPr>
          <p:spPr>
            <a:xfrm>
              <a:off x="8333347" y="3165457"/>
              <a:ext cx="1686724" cy="764103"/>
            </a:xfrm>
            <a:prstGeom prst="line">
              <a:avLst/>
            </a:prstGeom>
            <a:noFill/>
            <a:ln w="28575" cap="flat" cmpd="sng" algn="ctr">
              <a:solidFill>
                <a:srgbClr val="DC3C00"/>
              </a:solidFill>
              <a:prstDash val="sysDash"/>
              <a:headEnd type="none"/>
              <a:tailEnd type="none"/>
            </a:ln>
            <a:effectLst/>
          </p:spPr>
        </p:cxnSp>
        <p:cxnSp>
          <p:nvCxnSpPr>
            <p:cNvPr id="188" name="Straight Connector 187"/>
            <p:cNvCxnSpPr>
              <a:endCxn id="208" idx="0"/>
            </p:cNvCxnSpPr>
            <p:nvPr/>
          </p:nvCxnSpPr>
          <p:spPr>
            <a:xfrm>
              <a:off x="8383666" y="3183204"/>
              <a:ext cx="2483946" cy="1934469"/>
            </a:xfrm>
            <a:prstGeom prst="line">
              <a:avLst/>
            </a:prstGeom>
            <a:noFill/>
            <a:ln w="28575" cap="flat" cmpd="sng" algn="ctr">
              <a:solidFill>
                <a:srgbClr val="DC3C00"/>
              </a:solidFill>
              <a:prstDash val="sysDash"/>
              <a:headEnd type="none"/>
              <a:tailEnd type="none"/>
            </a:ln>
            <a:effectLst/>
          </p:spPr>
        </p:cxnSp>
        <p:grpSp>
          <p:nvGrpSpPr>
            <p:cNvPr id="189" name="Group 332"/>
            <p:cNvGrpSpPr/>
            <p:nvPr/>
          </p:nvGrpSpPr>
          <p:grpSpPr>
            <a:xfrm>
              <a:off x="10816731" y="4848953"/>
              <a:ext cx="298768" cy="456738"/>
              <a:chOff x="11312677" y="4385379"/>
              <a:chExt cx="420734" cy="643192"/>
            </a:xfrm>
          </p:grpSpPr>
          <p:sp>
            <p:nvSpPr>
              <p:cNvPr id="204"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05"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06"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07"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08"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09"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10"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11"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12"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13"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14"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grpSp>
        <p:cxnSp>
          <p:nvCxnSpPr>
            <p:cNvPr id="190" name="Straight Connector 189"/>
            <p:cNvCxnSpPr>
              <a:stCxn id="197" idx="8"/>
              <a:endCxn id="215" idx="1"/>
            </p:cNvCxnSpPr>
            <p:nvPr/>
          </p:nvCxnSpPr>
          <p:spPr>
            <a:xfrm>
              <a:off x="8369812" y="3203883"/>
              <a:ext cx="2272337" cy="351740"/>
            </a:xfrm>
            <a:prstGeom prst="line">
              <a:avLst/>
            </a:prstGeom>
            <a:noFill/>
            <a:ln w="28575" cap="flat" cmpd="sng" algn="ctr">
              <a:solidFill>
                <a:srgbClr val="DC3C00"/>
              </a:solidFill>
              <a:prstDash val="sysDash"/>
              <a:headEnd type="none"/>
              <a:tailEnd type="none"/>
            </a:ln>
            <a:effectLst/>
          </p:spPr>
        </p:cxnSp>
        <p:cxnSp>
          <p:nvCxnSpPr>
            <p:cNvPr id="191" name="Straight Connector 190"/>
            <p:cNvCxnSpPr>
              <a:endCxn id="237" idx="1"/>
            </p:cNvCxnSpPr>
            <p:nvPr/>
          </p:nvCxnSpPr>
          <p:spPr>
            <a:xfrm flipV="1">
              <a:off x="8333347" y="2995989"/>
              <a:ext cx="2931171" cy="182465"/>
            </a:xfrm>
            <a:prstGeom prst="line">
              <a:avLst/>
            </a:prstGeom>
            <a:noFill/>
            <a:ln w="28575" cap="flat" cmpd="sng" algn="ctr">
              <a:solidFill>
                <a:srgbClr val="DC3C00"/>
              </a:solidFill>
              <a:prstDash val="sysDash"/>
              <a:headEnd type="none"/>
              <a:tailEnd type="none"/>
            </a:ln>
            <a:effectLst/>
          </p:spPr>
        </p:cxnSp>
        <p:grpSp>
          <p:nvGrpSpPr>
            <p:cNvPr id="192" name="Group 332"/>
            <p:cNvGrpSpPr/>
            <p:nvPr/>
          </p:nvGrpSpPr>
          <p:grpSpPr>
            <a:xfrm>
              <a:off x="8131601" y="2797083"/>
              <a:ext cx="452287" cy="691429"/>
              <a:chOff x="11312677" y="4385379"/>
              <a:chExt cx="420734" cy="643192"/>
            </a:xfrm>
          </p:grpSpPr>
          <p:sp>
            <p:nvSpPr>
              <p:cNvPr id="193"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194"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195"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196"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197"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198"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199"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00"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01"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02"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sp>
            <p:nvSpPr>
              <p:cNvPr id="203"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kern="0" dirty="0">
                  <a:solidFill>
                    <a:srgbClr val="505050"/>
                  </a:solidFill>
                  <a:latin typeface="Segoe UI Semilight"/>
                </a:endParaRPr>
              </a:p>
            </p:txBody>
          </p:sp>
        </p:grpSp>
      </p:grpSp>
      <p:sp>
        <p:nvSpPr>
          <p:cNvPr id="118" name="Rectangle 117">
            <a:extLst>
              <a:ext uri="{FF2B5EF4-FFF2-40B4-BE49-F238E27FC236}">
                <a16:creationId xmlns:a16="http://schemas.microsoft.com/office/drawing/2014/main" id="{A63E2071-448D-44E0-99BC-F83FB1170FE0}"/>
              </a:ext>
            </a:extLst>
          </p:cNvPr>
          <p:cNvSpPr/>
          <p:nvPr/>
        </p:nvSpPr>
        <p:spPr bwMode="auto">
          <a:xfrm>
            <a:off x="11026336" y="488"/>
            <a:ext cx="1165664" cy="66453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b="1" kern="0" dirty="0">
                <a:gradFill>
                  <a:gsLst>
                    <a:gs pos="0">
                      <a:srgbClr val="FFFFFF"/>
                    </a:gs>
                    <a:gs pos="100000">
                      <a:srgbClr val="FFFFFF"/>
                    </a:gs>
                  </a:gsLst>
                  <a:lin ang="5400000" scaled="0"/>
                </a:gradFill>
                <a:latin typeface="Segoe UI"/>
                <a:ea typeface="Segoe UI" pitchFamily="34" charset="0"/>
                <a:cs typeface="Segoe UI" pitchFamily="34" charset="0"/>
              </a:rPr>
              <a:t>GA</a:t>
            </a:r>
          </a:p>
        </p:txBody>
      </p:sp>
    </p:spTree>
    <p:extLst>
      <p:ext uri="{BB962C8B-B14F-4D97-AF65-F5344CB8AC3E}">
        <p14:creationId xmlns:p14="http://schemas.microsoft.com/office/powerpoint/2010/main" val="179331432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2750" y="628085"/>
            <a:ext cx="11280012" cy="892425"/>
          </a:xfrm>
        </p:spPr>
        <p:txBody>
          <a:bodyPr>
            <a:noAutofit/>
          </a:bodyPr>
          <a:lstStyle/>
          <a:p>
            <a:r>
              <a:rPr lang="en-US" sz="2353" kern="0" spc="100" dirty="0">
                <a:ln>
                  <a:noFill/>
                </a:ln>
                <a:solidFill>
                  <a:schemeClr val="tx2"/>
                </a:solidFill>
                <a:latin typeface="Segoe UI Semibold" charset="0"/>
                <a:cs typeface="Segoe UI Semibold" charset="0"/>
              </a:rPr>
              <a:t>Keep data up-to-date across all SQL databases Distributed Applications</a:t>
            </a:r>
          </a:p>
        </p:txBody>
      </p:sp>
      <p:sp>
        <p:nvSpPr>
          <p:cNvPr id="6" name="TextBox 5"/>
          <p:cNvSpPr txBox="1"/>
          <p:nvPr/>
        </p:nvSpPr>
        <p:spPr>
          <a:xfrm>
            <a:off x="7440638" y="1710853"/>
            <a:ext cx="4556827" cy="4780932"/>
          </a:xfrm>
          <a:prstGeom prst="rect">
            <a:avLst/>
          </a:prstGeom>
        </p:spPr>
        <p:txBody>
          <a:bodyPr vert="horz" lIns="91427" tIns="45713" rIns="91427" bIns="45713" rtlCol="0">
            <a:noAutofit/>
          </a:bodyPr>
          <a:lstStyle>
            <a:lvl1pPr marL="285750" indent="-285750">
              <a:lnSpc>
                <a:spcPct val="100000"/>
              </a:lnSpc>
              <a:spcBef>
                <a:spcPts val="1000"/>
              </a:spcBef>
              <a:buFont typeface="Arial" panose="020B0604020202020204" pitchFamily="34" charset="0"/>
              <a:buChar char="•"/>
              <a:defRPr sz="1600">
                <a:solidFill>
                  <a:srgbClr val="51585B"/>
                </a:solidFill>
              </a:defRPr>
            </a:lvl1pPr>
            <a:lvl2pPr indent="0">
              <a:lnSpc>
                <a:spcPct val="100000"/>
              </a:lnSpc>
              <a:spcBef>
                <a:spcPts val="500"/>
              </a:spcBef>
              <a:buFont typeface="Arial" panose="020B0604020202020204" pitchFamily="34" charset="0"/>
              <a:buNone/>
              <a:defRPr sz="1200">
                <a:solidFill>
                  <a:srgbClr val="51585B"/>
                </a:solidFill>
              </a:defRPr>
            </a:lvl2pPr>
            <a:lvl3pPr indent="0">
              <a:lnSpc>
                <a:spcPct val="100000"/>
              </a:lnSpc>
              <a:spcBef>
                <a:spcPts val="500"/>
              </a:spcBef>
              <a:buFont typeface="Arial" panose="020B0604020202020204" pitchFamily="34" charset="0"/>
              <a:buNone/>
              <a:defRPr sz="1100">
                <a:solidFill>
                  <a:srgbClr val="51585B"/>
                </a:solidFill>
              </a:defRPr>
            </a:lvl3pPr>
            <a:lvl4pPr indent="0">
              <a:lnSpc>
                <a:spcPct val="100000"/>
              </a:lnSpc>
              <a:spcBef>
                <a:spcPts val="500"/>
              </a:spcBef>
              <a:buFont typeface="Arial" panose="020B0604020202020204" pitchFamily="34" charset="0"/>
              <a:buNone/>
              <a:defRPr sz="1050">
                <a:solidFill>
                  <a:srgbClr val="51585B"/>
                </a:solidFill>
              </a:defRPr>
            </a:lvl4pPr>
            <a:lvl5pPr indent="0">
              <a:lnSpc>
                <a:spcPct val="100000"/>
              </a:lnSpc>
              <a:spcBef>
                <a:spcPts val="500"/>
              </a:spcBef>
              <a:buFont typeface="Arial" panose="020B0604020202020204" pitchFamily="34" charset="0"/>
              <a:buNone/>
              <a:defRPr sz="1050">
                <a:solidFill>
                  <a:srgbClr val="51585B"/>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0121" indent="-280121" defTabSz="914246">
              <a:spcBef>
                <a:spcPts val="588"/>
              </a:spcBef>
              <a:spcAft>
                <a:spcPts val="588"/>
              </a:spcAft>
              <a:defRPr/>
            </a:pPr>
            <a:r>
              <a:rPr lang="en-US" sz="2353" kern="0" spc="100" dirty="0">
                <a:solidFill>
                  <a:srgbClr val="0078D7"/>
                </a:solidFill>
                <a:latin typeface="Segoe UI Semibold" charset="0"/>
                <a:cs typeface="Segoe UI Semibold" charset="0"/>
              </a:rPr>
              <a:t>All SQL databases </a:t>
            </a:r>
            <a:r>
              <a:rPr lang="en-US" sz="1765" kern="0" dirty="0">
                <a:solidFill>
                  <a:srgbClr val="0078D7"/>
                </a:solidFill>
                <a:latin typeface="Segoe UI Semilight" panose="020B0402040204020203" pitchFamily="34" charset="0"/>
                <a:cs typeface="Segoe UI Semilight" panose="020B0402040204020203" pitchFamily="34" charset="0"/>
              </a:rPr>
              <a:t>supported (SQL Server, SQL IaaS &amp; Azure SQL Database)</a:t>
            </a:r>
          </a:p>
          <a:p>
            <a:pPr marL="280121" indent="-280121" defTabSz="914246">
              <a:spcBef>
                <a:spcPts val="588"/>
              </a:spcBef>
              <a:spcAft>
                <a:spcPts val="588"/>
              </a:spcAft>
              <a:defRPr/>
            </a:pPr>
            <a:r>
              <a:rPr lang="en-US" sz="2353" kern="0" spc="100" dirty="0">
                <a:solidFill>
                  <a:srgbClr val="0078D7"/>
                </a:solidFill>
                <a:latin typeface="Segoe UI Semibold" charset="0"/>
                <a:cs typeface="Segoe UI Semibold" charset="0"/>
              </a:rPr>
              <a:t>Zero code </a:t>
            </a:r>
            <a:r>
              <a:rPr lang="en-US" sz="1765" kern="0" dirty="0">
                <a:solidFill>
                  <a:srgbClr val="0078D7"/>
                </a:solidFill>
                <a:latin typeface="Segoe UI Semilight" panose="020B0402040204020203" pitchFamily="34" charset="0"/>
                <a:cs typeface="Segoe UI Semilight" panose="020B0402040204020203" pitchFamily="34" charset="0"/>
              </a:rPr>
              <a:t>required to enable data synchronization among SQL databases</a:t>
            </a:r>
          </a:p>
          <a:p>
            <a:pPr marL="280121" indent="-280121" defTabSz="914246">
              <a:spcBef>
                <a:spcPts val="588"/>
              </a:spcBef>
              <a:spcAft>
                <a:spcPts val="588"/>
              </a:spcAft>
              <a:defRPr/>
            </a:pPr>
            <a:r>
              <a:rPr lang="en-US" sz="2353" kern="0" spc="100" dirty="0">
                <a:solidFill>
                  <a:srgbClr val="0078D7"/>
                </a:solidFill>
                <a:latin typeface="Segoe UI Semibold" charset="0"/>
                <a:cs typeface="Segoe UI Semibold" charset="0"/>
              </a:rPr>
              <a:t>H</a:t>
            </a:r>
            <a:r>
              <a:rPr lang="en-US" sz="2353" kern="0" spc="100" dirty="0" err="1">
                <a:solidFill>
                  <a:srgbClr val="0078D7"/>
                </a:solidFill>
                <a:latin typeface="Segoe UI Semibold" charset="0"/>
                <a:cs typeface="Segoe UI Semibold" charset="0"/>
              </a:rPr>
              <a:t>ub</a:t>
            </a:r>
            <a:r>
              <a:rPr lang="en-US" sz="2353" kern="0" spc="100" dirty="0">
                <a:solidFill>
                  <a:srgbClr val="0078D7"/>
                </a:solidFill>
                <a:latin typeface="Segoe UI Semibold" charset="0"/>
                <a:cs typeface="Segoe UI Semibold" charset="0"/>
              </a:rPr>
              <a:t>-and-Spoke</a:t>
            </a:r>
            <a:r>
              <a:rPr lang="en-US" sz="1765" kern="0" dirty="0">
                <a:solidFill>
                  <a:srgbClr val="505050">
                    <a:lumMod val="50000"/>
                  </a:srgbClr>
                </a:solidFill>
                <a:latin typeface="Consolas" panose="020B0609020204030204" pitchFamily="49" charset="0"/>
              </a:rPr>
              <a:t> </a:t>
            </a:r>
            <a:r>
              <a:rPr lang="en-US" sz="1765" kern="0" dirty="0">
                <a:solidFill>
                  <a:srgbClr val="0078D7"/>
                </a:solidFill>
                <a:latin typeface="Segoe UI Semilight" panose="020B0402040204020203" pitchFamily="34" charset="0"/>
                <a:cs typeface="Segoe UI Semilight" panose="020B0402040204020203" pitchFamily="34" charset="0"/>
              </a:rPr>
              <a:t>Synchronization technology</a:t>
            </a:r>
          </a:p>
          <a:p>
            <a:pPr marL="280121" indent="-280121" defTabSz="914246">
              <a:spcBef>
                <a:spcPts val="588"/>
              </a:spcBef>
              <a:spcAft>
                <a:spcPts val="588"/>
              </a:spcAft>
              <a:defRPr/>
            </a:pPr>
            <a:r>
              <a:rPr lang="en-US" sz="1765" kern="0" dirty="0">
                <a:solidFill>
                  <a:srgbClr val="0078D7"/>
                </a:solidFill>
                <a:latin typeface="Segoe UI Semilight" panose="020B0402040204020203" pitchFamily="34" charset="0"/>
                <a:cs typeface="Segoe UI Semilight" panose="020B0402040204020203" pitchFamily="34" charset="0"/>
              </a:rPr>
              <a:t>Both</a:t>
            </a:r>
            <a:r>
              <a:rPr lang="en-US" sz="1765" kern="0" dirty="0">
                <a:solidFill>
                  <a:srgbClr val="505050">
                    <a:lumMod val="50000"/>
                  </a:srgbClr>
                </a:solidFill>
                <a:latin typeface="Consolas" panose="020B0609020204030204" pitchFamily="49" charset="0"/>
              </a:rPr>
              <a:t> </a:t>
            </a:r>
            <a:r>
              <a:rPr lang="en-US" sz="2353" kern="0" spc="100" dirty="0">
                <a:solidFill>
                  <a:srgbClr val="0078D7"/>
                </a:solidFill>
                <a:latin typeface="Segoe UI Semibold" charset="0"/>
                <a:cs typeface="Segoe UI Semibold" charset="0"/>
              </a:rPr>
              <a:t>One-way </a:t>
            </a:r>
            <a:r>
              <a:rPr lang="en-US" sz="1765" kern="0" dirty="0">
                <a:solidFill>
                  <a:srgbClr val="0078D7"/>
                </a:solidFill>
                <a:latin typeface="Segoe UI Semilight" panose="020B0402040204020203" pitchFamily="34" charset="0"/>
                <a:cs typeface="Segoe UI Semilight" panose="020B0402040204020203" pitchFamily="34" charset="0"/>
              </a:rPr>
              <a:t>or</a:t>
            </a:r>
            <a:r>
              <a:rPr lang="en-US" sz="1765" kern="0" dirty="0">
                <a:solidFill>
                  <a:srgbClr val="505050">
                    <a:lumMod val="50000"/>
                  </a:srgbClr>
                </a:solidFill>
                <a:latin typeface="Consolas" panose="020B0609020204030204" pitchFamily="49" charset="0"/>
              </a:rPr>
              <a:t> </a:t>
            </a:r>
            <a:r>
              <a:rPr lang="en-US" sz="2353" kern="0" spc="100" dirty="0">
                <a:solidFill>
                  <a:srgbClr val="0078D7"/>
                </a:solidFill>
                <a:latin typeface="Segoe UI Semibold" charset="0"/>
                <a:cs typeface="Segoe UI Semibold" charset="0"/>
              </a:rPr>
              <a:t>Bi-directional</a:t>
            </a:r>
            <a:r>
              <a:rPr lang="en-US" sz="1765" kern="0" dirty="0">
                <a:solidFill>
                  <a:srgbClr val="505050">
                    <a:lumMod val="50000"/>
                  </a:srgbClr>
                </a:solidFill>
                <a:latin typeface="Consolas" panose="020B0609020204030204" pitchFamily="49" charset="0"/>
              </a:rPr>
              <a:t> </a:t>
            </a:r>
            <a:r>
              <a:rPr lang="en-US" sz="1765" kern="0" dirty="0">
                <a:solidFill>
                  <a:srgbClr val="0078D7"/>
                </a:solidFill>
                <a:latin typeface="Segoe UI Semilight" panose="020B0402040204020203" pitchFamily="34" charset="0"/>
                <a:cs typeface="Segoe UI Semilight" panose="020B0402040204020203" pitchFamily="34" charset="0"/>
              </a:rPr>
              <a:t>synchronization</a:t>
            </a:r>
          </a:p>
          <a:p>
            <a:pPr marL="280121" indent="-280121" defTabSz="914246">
              <a:spcBef>
                <a:spcPts val="588"/>
              </a:spcBef>
              <a:spcAft>
                <a:spcPts val="588"/>
              </a:spcAft>
              <a:defRPr/>
            </a:pPr>
            <a:r>
              <a:rPr lang="en-US" sz="2353" kern="0" spc="100" dirty="0">
                <a:solidFill>
                  <a:srgbClr val="0078D7"/>
                </a:solidFill>
                <a:latin typeface="Segoe UI Semibold" charset="0"/>
                <a:cs typeface="Segoe UI Semibold" charset="0"/>
              </a:rPr>
              <a:t>Table-level</a:t>
            </a:r>
            <a:r>
              <a:rPr lang="en-US" sz="1765" kern="0" dirty="0">
                <a:solidFill>
                  <a:srgbClr val="505050">
                    <a:lumMod val="50000"/>
                  </a:srgbClr>
                </a:solidFill>
                <a:latin typeface="Consolas" panose="020B0609020204030204" pitchFamily="49" charset="0"/>
              </a:rPr>
              <a:t> </a:t>
            </a:r>
            <a:r>
              <a:rPr lang="en-US" sz="1765" kern="0" dirty="0">
                <a:solidFill>
                  <a:srgbClr val="0078D7"/>
                </a:solidFill>
                <a:latin typeface="Segoe UI Semilight" panose="020B0402040204020203" pitchFamily="34" charset="0"/>
                <a:cs typeface="Segoe UI Semilight" panose="020B0402040204020203" pitchFamily="34" charset="0"/>
              </a:rPr>
              <a:t>synchronization with</a:t>
            </a:r>
            <a:r>
              <a:rPr lang="en-US" sz="2353" kern="0" spc="100" dirty="0">
                <a:solidFill>
                  <a:srgbClr val="0078D7"/>
                </a:solidFill>
                <a:latin typeface="Segoe UI Semibold" charset="0"/>
                <a:cs typeface="Segoe UI Semibold" charset="0"/>
              </a:rPr>
              <a:t> Column Filter</a:t>
            </a:r>
          </a:p>
          <a:p>
            <a:pPr marL="280121" indent="-280121" defTabSz="914246">
              <a:spcBef>
                <a:spcPts val="588"/>
              </a:spcBef>
              <a:spcAft>
                <a:spcPts val="588"/>
              </a:spcAft>
              <a:defRPr/>
            </a:pPr>
            <a:r>
              <a:rPr lang="en-US" sz="2353" kern="0" spc="100" dirty="0">
                <a:solidFill>
                  <a:srgbClr val="0078D7"/>
                </a:solidFill>
                <a:latin typeface="Segoe UI Semibold" charset="0"/>
                <a:cs typeface="Segoe UI Semibold" charset="0"/>
              </a:rPr>
              <a:t>Minute-</a:t>
            </a:r>
            <a:r>
              <a:rPr lang="en-US" sz="1765" kern="0" dirty="0">
                <a:solidFill>
                  <a:srgbClr val="0078D7"/>
                </a:solidFill>
                <a:latin typeface="Segoe UI Semilight" panose="020B0402040204020203" pitchFamily="34" charset="0"/>
                <a:cs typeface="Segoe UI Semilight" panose="020B0402040204020203" pitchFamily="34" charset="0"/>
              </a:rPr>
              <a:t>level latency</a:t>
            </a:r>
          </a:p>
          <a:p>
            <a:pPr marL="285703" indent="-285703" defTabSz="914246">
              <a:defRPr/>
            </a:pPr>
            <a:endParaRPr lang="en-US" sz="1372" kern="0" dirty="0">
              <a:solidFill>
                <a:srgbClr val="505050">
                  <a:lumMod val="50000"/>
                </a:srgbClr>
              </a:solidFill>
              <a:latin typeface="Consolas" panose="020B0609020204030204" pitchFamily="49" charset="0"/>
            </a:endParaRPr>
          </a:p>
          <a:p>
            <a:pPr marL="285703" indent="-285703" defTabSz="914246">
              <a:defRPr/>
            </a:pPr>
            <a:endParaRPr lang="en-US" sz="1176" kern="0" dirty="0">
              <a:solidFill>
                <a:srgbClr val="505050">
                  <a:lumMod val="50000"/>
                </a:srgbClr>
              </a:solidFill>
              <a:latin typeface="Consolas" panose="020B0609020204030204" pitchFamily="49" charset="0"/>
            </a:endParaRPr>
          </a:p>
          <a:p>
            <a:pPr marL="285703" indent="-285703" defTabSz="914246">
              <a:defRPr/>
            </a:pPr>
            <a:endParaRPr lang="en-US" sz="1176" kern="0" dirty="0">
              <a:solidFill>
                <a:srgbClr val="505050">
                  <a:lumMod val="50000"/>
                </a:srgbClr>
              </a:solidFill>
              <a:latin typeface="Consolas" panose="020B0609020204030204" pitchFamily="49" charset="0"/>
            </a:endParaRPr>
          </a:p>
          <a:p>
            <a:pPr marL="285703" indent="-285703" defTabSz="914246">
              <a:defRPr/>
            </a:pPr>
            <a:endParaRPr lang="en-US" sz="1176" kern="0" dirty="0">
              <a:solidFill>
                <a:srgbClr val="505050">
                  <a:lumMod val="50000"/>
                </a:srgbClr>
              </a:solidFill>
              <a:latin typeface="Consolas" panose="020B0609020204030204" pitchFamily="49" charset="0"/>
            </a:endParaRPr>
          </a:p>
          <a:p>
            <a:pPr marL="285703" indent="-285703" defTabSz="914246">
              <a:defRPr/>
            </a:pPr>
            <a:endParaRPr lang="en-US" sz="1176" kern="0" dirty="0">
              <a:solidFill>
                <a:srgbClr val="505050">
                  <a:lumMod val="50000"/>
                </a:srgbClr>
              </a:solidFill>
              <a:latin typeface="Consolas" panose="020B0609020204030204" pitchFamily="49" charset="0"/>
            </a:endParaRPr>
          </a:p>
          <a:p>
            <a:pPr marL="285703" indent="-285703" defTabSz="914246">
              <a:defRPr/>
            </a:pPr>
            <a:endParaRPr lang="en-US" sz="1176" kern="0" dirty="0">
              <a:solidFill>
                <a:srgbClr val="505050">
                  <a:lumMod val="50000"/>
                </a:srgbClr>
              </a:solidFill>
              <a:latin typeface="Consolas" panose="020B0609020204030204" pitchFamily="49"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2153" y="1710853"/>
            <a:ext cx="5855473" cy="4780932"/>
          </a:xfrm>
          <a:prstGeom prst="rect">
            <a:avLst/>
          </a:prstGeom>
        </p:spPr>
      </p:pic>
      <p:sp>
        <p:nvSpPr>
          <p:cNvPr id="12" name="Rectangle 11"/>
          <p:cNvSpPr/>
          <p:nvPr/>
        </p:nvSpPr>
        <p:spPr>
          <a:xfrm>
            <a:off x="661043" y="69650"/>
            <a:ext cx="6662075" cy="575081"/>
          </a:xfrm>
          <a:prstGeom prst="rect">
            <a:avLst/>
          </a:prstGeom>
          <a:noFill/>
        </p:spPr>
        <p:txBody>
          <a:bodyPr wrap="none" lIns="91427" tIns="45713" rIns="91427" bIns="45713">
            <a:spAutoFit/>
          </a:bodyPr>
          <a:lstStyle/>
          <a:p>
            <a:pPr algn="ctr" defTabSz="914246">
              <a:defRPr/>
            </a:pPr>
            <a:r>
              <a:rPr lang="en-US" sz="3137" cap="all" spc="500" dirty="0">
                <a:ln w="3175">
                  <a:noFill/>
                </a:ln>
                <a:solidFill>
                  <a:srgbClr val="0078D7"/>
                </a:solidFill>
                <a:latin typeface="Segoe UI Semilight" charset="0"/>
                <a:cs typeface="Segoe UI Semilight" charset="0"/>
              </a:rPr>
              <a:t>SQL Azure Data Sync (v2)</a:t>
            </a:r>
          </a:p>
        </p:txBody>
      </p:sp>
      <p:sp>
        <p:nvSpPr>
          <p:cNvPr id="7" name="Rectangle 6">
            <a:extLst>
              <a:ext uri="{FF2B5EF4-FFF2-40B4-BE49-F238E27FC236}">
                <a16:creationId xmlns:a16="http://schemas.microsoft.com/office/drawing/2014/main" id="{C6636F37-101F-4D61-964B-0F5471859ADF}"/>
              </a:ext>
            </a:extLst>
          </p:cNvPr>
          <p:cNvSpPr/>
          <p:nvPr/>
        </p:nvSpPr>
        <p:spPr bwMode="auto">
          <a:xfrm>
            <a:off x="10371926" y="487"/>
            <a:ext cx="1820075" cy="7134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b="1" kern="0" dirty="0">
                <a:gradFill>
                  <a:gsLst>
                    <a:gs pos="0">
                      <a:srgbClr val="FFFFFF"/>
                    </a:gs>
                    <a:gs pos="100000">
                      <a:srgbClr val="FFFFFF"/>
                    </a:gs>
                  </a:gsLst>
                  <a:lin ang="5400000" scaled="0"/>
                </a:gradFill>
                <a:latin typeface="Segoe UI"/>
                <a:ea typeface="Segoe UI" pitchFamily="34" charset="0"/>
                <a:cs typeface="Segoe UI" pitchFamily="34" charset="0"/>
              </a:rPr>
              <a:t>Public Preview</a:t>
            </a:r>
          </a:p>
        </p:txBody>
      </p:sp>
    </p:spTree>
    <p:extLst>
      <p:ext uri="{BB962C8B-B14F-4D97-AF65-F5344CB8AC3E}">
        <p14:creationId xmlns:p14="http://schemas.microsoft.com/office/powerpoint/2010/main" val="406103101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00D37-841E-4CBA-8A2D-1F8914FAC4E9}"/>
              </a:ext>
            </a:extLst>
          </p:cNvPr>
          <p:cNvSpPr>
            <a:spLocks noGrp="1"/>
          </p:cNvSpPr>
          <p:nvPr>
            <p:ph type="title"/>
          </p:nvPr>
        </p:nvSpPr>
        <p:spPr/>
        <p:txBody>
          <a:bodyPr/>
          <a:lstStyle/>
          <a:p>
            <a:pPr defTabSz="914225">
              <a:lnSpc>
                <a:spcPct val="100000"/>
              </a:lnSpc>
              <a:spcBef>
                <a:spcPts val="0"/>
              </a:spcBef>
              <a:defRPr/>
            </a:pPr>
            <a:r>
              <a:rPr lang="en-US" dirty="0"/>
              <a:t>Seamless cloud integration </a:t>
            </a:r>
            <a:br>
              <a:rPr lang="en-US" dirty="0"/>
            </a:br>
            <a:r>
              <a:rPr lang="en-US" sz="2000" b="1" kern="0" cap="none" spc="100" dirty="0">
                <a:ln>
                  <a:noFill/>
                </a:ln>
                <a:solidFill>
                  <a:srgbClr val="FFFFFF"/>
                </a:solidFill>
                <a:latin typeface="Segoe UI Semibold" charset="0"/>
                <a:ea typeface="Segoe UI Semibold" charset="0"/>
                <a:cs typeface="Segoe UI Semibold" charset="0"/>
              </a:rPr>
              <a:t>Easy lift-and-shift, integrate and distribute</a:t>
            </a:r>
            <a:br>
              <a:rPr lang="en-US" dirty="0"/>
            </a:br>
            <a:endParaRPr lang="en-US" dirty="0"/>
          </a:p>
        </p:txBody>
      </p:sp>
      <p:sp>
        <p:nvSpPr>
          <p:cNvPr id="3" name="Content Placeholder 2">
            <a:extLst>
              <a:ext uri="{FF2B5EF4-FFF2-40B4-BE49-F238E27FC236}">
                <a16:creationId xmlns:a16="http://schemas.microsoft.com/office/drawing/2014/main" id="{149CB621-A187-44A9-92CE-37CD106FF4D8}"/>
              </a:ext>
            </a:extLst>
          </p:cNvPr>
          <p:cNvSpPr>
            <a:spLocks noGrp="1"/>
          </p:cNvSpPr>
          <p:nvPr>
            <p:ph idx="10"/>
          </p:nvPr>
        </p:nvSpPr>
        <p:spPr>
          <a:xfrm>
            <a:off x="269919" y="2267677"/>
            <a:ext cx="4770168" cy="4467890"/>
          </a:xfrm>
        </p:spPr>
        <p:txBody>
          <a:bodyPr/>
          <a:lstStyle/>
          <a:p>
            <a:pPr lvl="0"/>
            <a:r>
              <a:rPr lang="en-US" sz="1600" dirty="0">
                <a:latin typeface="Segoe UI Semibold" panose="020B0702040204020203" pitchFamily="34" charset="0"/>
                <a:cs typeface="Segoe UI Semibold" panose="020B0702040204020203" pitchFamily="34" charset="0"/>
              </a:rPr>
              <a:t>Azure SQL Database Managed Instance</a:t>
            </a:r>
            <a:br>
              <a:rPr lang="en-US" sz="1600" dirty="0">
                <a:latin typeface="Segoe UI Semibold" panose="020B0702040204020203" pitchFamily="34" charset="0"/>
                <a:cs typeface="Segoe UI Semibold" panose="020B0702040204020203" pitchFamily="34" charset="0"/>
              </a:rPr>
            </a:br>
            <a:r>
              <a:rPr lang="en-US" dirty="0"/>
              <a:t>facilitates lift and shift migration from on-premises SQL Server to cloud</a:t>
            </a:r>
          </a:p>
          <a:p>
            <a:pPr lvl="0"/>
            <a:r>
              <a:rPr lang="en-US" sz="1600" dirty="0">
                <a:latin typeface="Segoe UI Semibold" panose="020B0702040204020203" pitchFamily="34" charset="0"/>
                <a:cs typeface="Segoe UI Semibold" panose="020B0702040204020203" pitchFamily="34" charset="0"/>
              </a:rPr>
              <a:t>Azure Hybrid Benefit for SQL Server </a:t>
            </a:r>
            <a:br>
              <a:rPr lang="en-US" dirty="0"/>
            </a:br>
            <a:r>
              <a:rPr lang="en-US" dirty="0"/>
              <a:t>maximizes current on-premises license investments to facilitate migration</a:t>
            </a:r>
          </a:p>
          <a:p>
            <a:r>
              <a:rPr lang="en-US" sz="1600" dirty="0">
                <a:latin typeface="Segoe UI Semibold" panose="020B0702040204020203" pitchFamily="34" charset="0"/>
                <a:cs typeface="Segoe UI Semibold" panose="020B0702040204020203" pitchFamily="34" charset="0"/>
              </a:rPr>
              <a:t>Database Migration Service (DMS) </a:t>
            </a:r>
            <a:br>
              <a:rPr lang="en-US" dirty="0"/>
            </a:br>
            <a:r>
              <a:rPr lang="en-US" dirty="0"/>
              <a:t>provides seamless and reliable migration at scale with minimal downtime </a:t>
            </a:r>
          </a:p>
          <a:p>
            <a:pPr lvl="0"/>
            <a:r>
              <a:rPr lang="en-US" sz="1600" dirty="0">
                <a:latin typeface="Segoe UI Semibold" panose="020B0702040204020203" pitchFamily="34" charset="0"/>
                <a:cs typeface="Segoe UI Semibold" panose="020B0702040204020203" pitchFamily="34" charset="0"/>
              </a:rPr>
              <a:t>Active Geo-replicas “</a:t>
            </a:r>
            <a:r>
              <a:rPr lang="en-US" dirty="0"/>
              <a:t>data CDN” for your edge deployments</a:t>
            </a:r>
            <a:endParaRPr lang="en-US" sz="1600" dirty="0">
              <a:latin typeface="Segoe UI Semibold" panose="020B0702040204020203" pitchFamily="34" charset="0"/>
              <a:cs typeface="Segoe UI Semibold" panose="020B0702040204020203" pitchFamily="34" charset="0"/>
            </a:endParaRPr>
          </a:p>
          <a:p>
            <a:pPr lvl="0"/>
            <a:r>
              <a:rPr lang="en-US" sz="1600" dirty="0">
                <a:latin typeface="Segoe UI Semibold" panose="020B0702040204020203" pitchFamily="34" charset="0"/>
                <a:cs typeface="Segoe UI Semibold" panose="020B0702040204020203" pitchFamily="34" charset="0"/>
              </a:rPr>
              <a:t>SQL Azure Data Sync v2 </a:t>
            </a:r>
            <a:r>
              <a:rPr lang="en-US" dirty="0"/>
              <a:t>synchronize data  across distributed and occasionally connected applications  </a:t>
            </a:r>
          </a:p>
          <a:p>
            <a:endParaRPr lang="en-US" dirty="0"/>
          </a:p>
        </p:txBody>
      </p:sp>
      <p:sp>
        <p:nvSpPr>
          <p:cNvPr id="47" name="Triangle 3">
            <a:extLst>
              <a:ext uri="{FF2B5EF4-FFF2-40B4-BE49-F238E27FC236}">
                <a16:creationId xmlns:a16="http://schemas.microsoft.com/office/drawing/2014/main" id="{3A37A585-D896-44E9-81DF-3F6F8B680401}"/>
              </a:ext>
            </a:extLst>
          </p:cNvPr>
          <p:cNvSpPr/>
          <p:nvPr/>
        </p:nvSpPr>
        <p:spPr>
          <a:xfrm rot="5400000">
            <a:off x="175629" y="6577366"/>
            <a:ext cx="196746" cy="91589"/>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srgbClr val="FFFFFF"/>
              </a:solidFill>
              <a:latin typeface="Segoe UI"/>
            </a:endParaRPr>
          </a:p>
        </p:txBody>
      </p:sp>
      <p:sp>
        <p:nvSpPr>
          <p:cNvPr id="48" name="Text Placeholder 3">
            <a:extLst>
              <a:ext uri="{FF2B5EF4-FFF2-40B4-BE49-F238E27FC236}">
                <a16:creationId xmlns:a16="http://schemas.microsoft.com/office/drawing/2014/main" id="{307227E4-FD07-419C-B1C0-DBFB2029C489}"/>
              </a:ext>
            </a:extLst>
          </p:cNvPr>
          <p:cNvSpPr txBox="1">
            <a:spLocks/>
          </p:cNvSpPr>
          <p:nvPr/>
        </p:nvSpPr>
        <p:spPr>
          <a:xfrm>
            <a:off x="221079" y="6513038"/>
            <a:ext cx="3060816" cy="355107"/>
          </a:xfrm>
          <a:prstGeom prst="rect">
            <a:avLst/>
          </a:prstGeom>
          <a:noFill/>
        </p:spPr>
        <p:txBody>
          <a:bodyPr lIns="182854"/>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225">
              <a:buClr>
                <a:srgbClr val="D2D2D2"/>
              </a:buClr>
              <a:buNone/>
            </a:pPr>
            <a:r>
              <a:rPr lang="en-US" sz="1000" b="1" dirty="0">
                <a:solidFill>
                  <a:srgbClr val="FFFFFF"/>
                </a:solidFill>
                <a:latin typeface="Segoe UI" charset="0"/>
                <a:ea typeface="Segoe UI" charset="0"/>
                <a:cs typeface="Segoe UI" charset="0"/>
              </a:rPr>
              <a:t>Most consistent data platform</a:t>
            </a:r>
          </a:p>
        </p:txBody>
      </p:sp>
      <p:sp>
        <p:nvSpPr>
          <p:cNvPr id="43" name="Content Placeholder 2">
            <a:extLst>
              <a:ext uri="{FF2B5EF4-FFF2-40B4-BE49-F238E27FC236}">
                <a16:creationId xmlns:a16="http://schemas.microsoft.com/office/drawing/2014/main" id="{8244D7DF-6815-4038-9BF4-59D4632AFBF4}"/>
              </a:ext>
            </a:extLst>
          </p:cNvPr>
          <p:cNvSpPr txBox="1">
            <a:spLocks/>
          </p:cNvSpPr>
          <p:nvPr/>
        </p:nvSpPr>
        <p:spPr>
          <a:xfrm>
            <a:off x="8102170" y="3189410"/>
            <a:ext cx="2470420" cy="829701"/>
          </a:xfrm>
          <a:prstGeom prst="rect">
            <a:avLst/>
          </a:prstGeom>
        </p:spPr>
        <p:txBody>
          <a:bodyPr vert="horz" wrap="square" lIns="146284" tIns="91427" rIns="146284" bIns="91427" rtlCol="0">
            <a:normAutofit/>
          </a:bodyPr>
          <a:lst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225">
              <a:lnSpc>
                <a:spcPct val="100000"/>
              </a:lnSpc>
              <a:spcBef>
                <a:spcPts val="1400"/>
              </a:spcBef>
              <a:buNone/>
              <a:defRPr/>
            </a:pPr>
            <a:r>
              <a:rPr lang="en-US" sz="1400" b="1" spc="170" dirty="0">
                <a:solidFill>
                  <a:srgbClr val="0078D7"/>
                </a:solidFill>
                <a:latin typeface="Segoe UI Semibold" charset="0"/>
                <a:ea typeface="Segoe UI Semibold" charset="0"/>
                <a:cs typeface="Segoe UI Semibold" charset="0"/>
              </a:rPr>
              <a:t>Database Migration Service (DMS) </a:t>
            </a:r>
            <a:br>
              <a:rPr lang="en-US" sz="1400" b="1" spc="170" dirty="0">
                <a:solidFill>
                  <a:srgbClr val="0078D7"/>
                </a:solidFill>
                <a:latin typeface="Segoe UI Semibold" charset="0"/>
                <a:ea typeface="Segoe UI Semibold" charset="0"/>
                <a:cs typeface="Segoe UI Semibold" charset="0"/>
              </a:rPr>
            </a:br>
            <a:endParaRPr lang="en-US" sz="1100" spc="170" dirty="0">
              <a:solidFill>
                <a:srgbClr val="0078D7"/>
              </a:solidFill>
              <a:latin typeface="Segoe UI Semilight" charset="0"/>
              <a:ea typeface="Segoe UI Semilight" charset="0"/>
              <a:cs typeface="Segoe UI Semilight" charset="0"/>
            </a:endParaRPr>
          </a:p>
        </p:txBody>
      </p:sp>
      <p:sp>
        <p:nvSpPr>
          <p:cNvPr id="44" name="Rectangle 43">
            <a:extLst>
              <a:ext uri="{FF2B5EF4-FFF2-40B4-BE49-F238E27FC236}">
                <a16:creationId xmlns:a16="http://schemas.microsoft.com/office/drawing/2014/main" id="{1603EF5C-6610-4464-9CE4-E4D35A980F22}"/>
              </a:ext>
            </a:extLst>
          </p:cNvPr>
          <p:cNvSpPr/>
          <p:nvPr/>
        </p:nvSpPr>
        <p:spPr>
          <a:xfrm>
            <a:off x="9264550" y="1477919"/>
            <a:ext cx="2749709" cy="704389"/>
          </a:xfrm>
          <a:prstGeom prst="rect">
            <a:avLst/>
          </a:prstGeom>
        </p:spPr>
        <p:txBody>
          <a:bodyPr wrap="square">
            <a:spAutoFit/>
          </a:bodyPr>
          <a:lstStyle/>
          <a:p>
            <a:pPr defTabSz="914225">
              <a:spcBef>
                <a:spcPts val="1400"/>
              </a:spcBef>
              <a:defRPr/>
            </a:pPr>
            <a:r>
              <a:rPr lang="en-US" sz="1400" b="1" spc="170" dirty="0">
                <a:solidFill>
                  <a:srgbClr val="0078D7"/>
                </a:solidFill>
                <a:latin typeface="Segoe UI Semibold" charset="0"/>
                <a:ea typeface="Segoe UI Semibold" charset="0"/>
                <a:cs typeface="Segoe UI Semibold" charset="0"/>
              </a:rPr>
              <a:t>Azure SQL Database Managed Instance</a:t>
            </a:r>
            <a:br>
              <a:rPr lang="en-US" sz="1200" b="1" spc="170" dirty="0">
                <a:solidFill>
                  <a:srgbClr val="0078D7"/>
                </a:solidFill>
                <a:latin typeface="Segoe UI Semibold" charset="0"/>
                <a:ea typeface="Segoe UI Semibold" charset="0"/>
                <a:cs typeface="Segoe UI Semibold" charset="0"/>
              </a:rPr>
            </a:br>
            <a:endParaRPr lang="en-US" sz="1100" spc="170" dirty="0">
              <a:solidFill>
                <a:srgbClr val="0078D7"/>
              </a:solidFill>
              <a:latin typeface="Segoe UI Semilight" charset="0"/>
              <a:ea typeface="Segoe UI Semilight" charset="0"/>
              <a:cs typeface="Segoe UI Semilight" charset="0"/>
            </a:endParaRPr>
          </a:p>
        </p:txBody>
      </p:sp>
      <p:sp>
        <p:nvSpPr>
          <p:cNvPr id="45" name="Rectangle 44">
            <a:extLst>
              <a:ext uri="{FF2B5EF4-FFF2-40B4-BE49-F238E27FC236}">
                <a16:creationId xmlns:a16="http://schemas.microsoft.com/office/drawing/2014/main" id="{E58C2E87-289B-4FDB-AD4F-DACFF82DA933}"/>
              </a:ext>
            </a:extLst>
          </p:cNvPr>
          <p:cNvSpPr/>
          <p:nvPr/>
        </p:nvSpPr>
        <p:spPr>
          <a:xfrm>
            <a:off x="7575931" y="2681161"/>
            <a:ext cx="2499835" cy="704389"/>
          </a:xfrm>
          <a:prstGeom prst="rect">
            <a:avLst/>
          </a:prstGeom>
        </p:spPr>
        <p:txBody>
          <a:bodyPr wrap="square">
            <a:spAutoFit/>
          </a:bodyPr>
          <a:lstStyle/>
          <a:p>
            <a:pPr defTabSz="914225">
              <a:spcBef>
                <a:spcPts val="1400"/>
              </a:spcBef>
              <a:defRPr/>
            </a:pPr>
            <a:r>
              <a:rPr lang="en-US" sz="1400" b="1" spc="170" dirty="0">
                <a:solidFill>
                  <a:srgbClr val="0078D7"/>
                </a:solidFill>
                <a:latin typeface="Segoe UI Semibold" charset="0"/>
                <a:ea typeface="Segoe UI Semibold" charset="0"/>
                <a:cs typeface="Segoe UI Semibold" charset="0"/>
              </a:rPr>
              <a:t>Azure Hybrid Benefit (AHB) for SQL Server</a:t>
            </a:r>
            <a:br>
              <a:rPr lang="en-US" sz="1400" b="1" spc="170" dirty="0">
                <a:solidFill>
                  <a:srgbClr val="0078D7"/>
                </a:solidFill>
                <a:latin typeface="Segoe UI Semibold" charset="0"/>
                <a:ea typeface="Segoe UI Semibold" charset="0"/>
                <a:cs typeface="Segoe UI Semibold" charset="0"/>
              </a:rPr>
            </a:br>
            <a:endParaRPr lang="en-US" sz="1100" spc="170" dirty="0">
              <a:solidFill>
                <a:srgbClr val="0078D7"/>
              </a:solidFill>
              <a:latin typeface="Segoe UI Semilight" charset="0"/>
              <a:ea typeface="Segoe UI Semilight" charset="0"/>
              <a:cs typeface="Segoe UI Semilight" charset="0"/>
            </a:endParaRPr>
          </a:p>
        </p:txBody>
      </p:sp>
      <p:grpSp>
        <p:nvGrpSpPr>
          <p:cNvPr id="46" name="Group 45">
            <a:extLst>
              <a:ext uri="{FF2B5EF4-FFF2-40B4-BE49-F238E27FC236}">
                <a16:creationId xmlns:a16="http://schemas.microsoft.com/office/drawing/2014/main" id="{26A34DF8-556F-40AA-BC5C-16AC189B6A5A}"/>
              </a:ext>
            </a:extLst>
          </p:cNvPr>
          <p:cNvGrpSpPr/>
          <p:nvPr/>
        </p:nvGrpSpPr>
        <p:grpSpPr>
          <a:xfrm>
            <a:off x="6063602" y="780306"/>
            <a:ext cx="8408728" cy="8523253"/>
            <a:chOff x="6486459" y="1246189"/>
            <a:chExt cx="8804857" cy="8924775"/>
          </a:xfrm>
        </p:grpSpPr>
        <p:grpSp>
          <p:nvGrpSpPr>
            <p:cNvPr id="49" name="Group 48">
              <a:extLst>
                <a:ext uri="{FF2B5EF4-FFF2-40B4-BE49-F238E27FC236}">
                  <a16:creationId xmlns:a16="http://schemas.microsoft.com/office/drawing/2014/main" id="{98A66F6D-0EBB-4AC6-BB5B-9E180114E522}"/>
                </a:ext>
              </a:extLst>
            </p:cNvPr>
            <p:cNvGrpSpPr/>
            <p:nvPr/>
          </p:nvGrpSpPr>
          <p:grpSpPr>
            <a:xfrm>
              <a:off x="6486459" y="1246189"/>
              <a:ext cx="8804857" cy="8924775"/>
              <a:chOff x="5476526" y="1539434"/>
              <a:chExt cx="9614805" cy="9745754"/>
            </a:xfrm>
          </p:grpSpPr>
          <p:sp>
            <p:nvSpPr>
              <p:cNvPr id="57" name="Arc 56">
                <a:extLst>
                  <a:ext uri="{FF2B5EF4-FFF2-40B4-BE49-F238E27FC236}">
                    <a16:creationId xmlns:a16="http://schemas.microsoft.com/office/drawing/2014/main" id="{D3B5D10D-3C71-4664-93CD-08CCC6D0C635}"/>
                  </a:ext>
                </a:extLst>
              </p:cNvPr>
              <p:cNvSpPr/>
              <p:nvPr/>
            </p:nvSpPr>
            <p:spPr>
              <a:xfrm flipH="1">
                <a:off x="5797116" y="1990973"/>
                <a:ext cx="9294215" cy="9294215"/>
              </a:xfrm>
              <a:prstGeom prst="arc">
                <a:avLst>
                  <a:gd name="adj1" fmla="val 16417232"/>
                  <a:gd name="adj2" fmla="val 0"/>
                </a:avLst>
              </a:prstGeom>
              <a:noFill/>
              <a:ln w="9525" cap="flat" cmpd="sng" algn="ctr">
                <a:solidFill>
                  <a:srgbClr val="0078D7"/>
                </a:solidFill>
                <a:prstDash val="solid"/>
                <a:headEnd type="triangle"/>
                <a:tailEnd type="none"/>
              </a:ln>
              <a:effectLst/>
            </p:spPr>
            <p:txBody>
              <a:bodyPr rtlCol="0" anchor="ctr"/>
              <a:lstStyle/>
              <a:p>
                <a:pPr algn="ctr" defTabSz="914225">
                  <a:defRPr/>
                </a:pPr>
                <a:endParaRPr lang="en-US" kern="0">
                  <a:solidFill>
                    <a:srgbClr val="000000"/>
                  </a:solidFill>
                  <a:latin typeface="Segoe UI"/>
                </a:endParaRPr>
              </a:p>
            </p:txBody>
          </p:sp>
          <p:sp>
            <p:nvSpPr>
              <p:cNvPr id="58" name="building_7">
                <a:extLst>
                  <a:ext uri="{FF2B5EF4-FFF2-40B4-BE49-F238E27FC236}">
                    <a16:creationId xmlns:a16="http://schemas.microsoft.com/office/drawing/2014/main" id="{F35A917F-1C4E-47F4-979C-C8DEDAC5F05B}"/>
                  </a:ext>
                </a:extLst>
              </p:cNvPr>
              <p:cNvSpPr>
                <a:spLocks noChangeAspect="1" noEditPoints="1"/>
              </p:cNvSpPr>
              <p:nvPr/>
            </p:nvSpPr>
            <p:spPr bwMode="auto">
              <a:xfrm>
                <a:off x="5476526" y="6860895"/>
                <a:ext cx="641782" cy="669566"/>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algn="ctr" defTabSz="914225">
                  <a:defRPr/>
                </a:pPr>
                <a:endParaRPr lang="en-US" sz="1000" kern="0">
                  <a:gradFill>
                    <a:gsLst>
                      <a:gs pos="0">
                        <a:srgbClr val="505050"/>
                      </a:gs>
                      <a:gs pos="100000">
                        <a:srgbClr val="505050"/>
                      </a:gs>
                    </a:gsLst>
                  </a:gradFill>
                  <a:latin typeface="Segoe UI"/>
                </a:endParaRPr>
              </a:p>
            </p:txBody>
          </p:sp>
          <p:sp>
            <p:nvSpPr>
              <p:cNvPr id="59" name="Freeform: Shape 27">
                <a:extLst>
                  <a:ext uri="{FF2B5EF4-FFF2-40B4-BE49-F238E27FC236}">
                    <a16:creationId xmlns:a16="http://schemas.microsoft.com/office/drawing/2014/main" id="{3F9B6950-BDD7-4C50-A5F2-5E6DCA535D66}"/>
                  </a:ext>
                </a:extLst>
              </p:cNvPr>
              <p:cNvSpPr/>
              <p:nvPr/>
            </p:nvSpPr>
            <p:spPr bwMode="auto">
              <a:xfrm flipV="1">
                <a:off x="10357904" y="1539434"/>
                <a:ext cx="1008094" cy="55571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algn="ctr" defTabSz="914225">
                  <a:defRPr/>
                </a:pPr>
                <a:endParaRPr lang="en-US" sz="1000" kern="0">
                  <a:solidFill>
                    <a:srgbClr val="505050"/>
                  </a:solidFill>
                  <a:latin typeface="Segoe UI"/>
                </a:endParaRPr>
              </a:p>
            </p:txBody>
          </p:sp>
        </p:grpSp>
        <p:sp>
          <p:nvSpPr>
            <p:cNvPr id="50" name="Oval 49">
              <a:extLst>
                <a:ext uri="{FF2B5EF4-FFF2-40B4-BE49-F238E27FC236}">
                  <a16:creationId xmlns:a16="http://schemas.microsoft.com/office/drawing/2014/main" id="{C7D66C27-C3B7-4543-8587-646A4FDACD78}"/>
                </a:ext>
              </a:extLst>
            </p:cNvPr>
            <p:cNvSpPr/>
            <p:nvPr/>
          </p:nvSpPr>
          <p:spPr bwMode="auto">
            <a:xfrm flipH="1">
              <a:off x="6934394" y="4637572"/>
              <a:ext cx="81023" cy="81023"/>
            </a:xfrm>
            <a:prstGeom prst="ellipse">
              <a:avLst/>
            </a:prstGeom>
            <a:solidFill>
              <a:srgbClr val="0078D7"/>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51" name="Oval 50">
              <a:extLst>
                <a:ext uri="{FF2B5EF4-FFF2-40B4-BE49-F238E27FC236}">
                  <a16:creationId xmlns:a16="http://schemas.microsoft.com/office/drawing/2014/main" id="{738559A5-D99E-4073-83E9-145C8471A93F}"/>
                </a:ext>
              </a:extLst>
            </p:cNvPr>
            <p:cNvSpPr/>
            <p:nvPr/>
          </p:nvSpPr>
          <p:spPr bwMode="auto">
            <a:xfrm flipH="1">
              <a:off x="7828740" y="3052486"/>
              <a:ext cx="81023" cy="81023"/>
            </a:xfrm>
            <a:prstGeom prst="ellipse">
              <a:avLst/>
            </a:prstGeom>
            <a:solidFill>
              <a:srgbClr val="0078D7"/>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56" name="Oval 55">
              <a:extLst>
                <a:ext uri="{FF2B5EF4-FFF2-40B4-BE49-F238E27FC236}">
                  <a16:creationId xmlns:a16="http://schemas.microsoft.com/office/drawing/2014/main" id="{F055B942-B6E6-4D6B-B849-CAF57CFAFC50}"/>
                </a:ext>
              </a:extLst>
            </p:cNvPr>
            <p:cNvSpPr/>
            <p:nvPr/>
          </p:nvSpPr>
          <p:spPr bwMode="auto">
            <a:xfrm flipH="1">
              <a:off x="9722138" y="1826214"/>
              <a:ext cx="81023" cy="81023"/>
            </a:xfrm>
            <a:prstGeom prst="ellipse">
              <a:avLst/>
            </a:prstGeom>
            <a:solidFill>
              <a:srgbClr val="0078D7"/>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grpSp>
      <p:sp>
        <p:nvSpPr>
          <p:cNvPr id="17" name="Content Placeholder 2">
            <a:extLst>
              <a:ext uri="{FF2B5EF4-FFF2-40B4-BE49-F238E27FC236}">
                <a16:creationId xmlns:a16="http://schemas.microsoft.com/office/drawing/2014/main" id="{86D0702A-C100-4690-9FC0-018276830F2D}"/>
              </a:ext>
            </a:extLst>
          </p:cNvPr>
          <p:cNvSpPr txBox="1">
            <a:spLocks/>
          </p:cNvSpPr>
          <p:nvPr/>
        </p:nvSpPr>
        <p:spPr>
          <a:xfrm>
            <a:off x="6760667" y="4019112"/>
            <a:ext cx="2470420" cy="754525"/>
          </a:xfrm>
          <a:prstGeom prst="rect">
            <a:avLst/>
          </a:prstGeom>
        </p:spPr>
        <p:txBody>
          <a:bodyPr vert="horz" wrap="square" lIns="146284" tIns="91427" rIns="146284" bIns="91427" rtlCol="0">
            <a:normAutofit/>
          </a:bodyPr>
          <a:lst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225">
              <a:lnSpc>
                <a:spcPct val="100000"/>
              </a:lnSpc>
              <a:spcBef>
                <a:spcPts val="1400"/>
              </a:spcBef>
              <a:buNone/>
              <a:defRPr/>
            </a:pPr>
            <a:r>
              <a:rPr lang="en-US" sz="1400" b="1" spc="170" dirty="0">
                <a:solidFill>
                  <a:srgbClr val="0078D7"/>
                </a:solidFill>
                <a:latin typeface="Segoe UI Semibold" charset="0"/>
                <a:ea typeface="Segoe UI Semibold" charset="0"/>
                <a:cs typeface="Segoe UI Semibold" charset="0"/>
              </a:rPr>
              <a:t>SQL Server</a:t>
            </a:r>
            <a:br>
              <a:rPr lang="en-US" sz="1400" b="1" spc="170" dirty="0">
                <a:solidFill>
                  <a:srgbClr val="0078D7"/>
                </a:solidFill>
                <a:latin typeface="Segoe UI Semibold" charset="0"/>
                <a:ea typeface="Segoe UI Semibold" charset="0"/>
                <a:cs typeface="Segoe UI Semibold" charset="0"/>
              </a:rPr>
            </a:br>
            <a:endParaRPr lang="en-US" sz="1100" spc="170" dirty="0">
              <a:solidFill>
                <a:srgbClr val="0078D7"/>
              </a:solidFill>
              <a:latin typeface="Segoe UI Semilight" charset="0"/>
              <a:ea typeface="Segoe UI Semilight" charset="0"/>
              <a:cs typeface="Segoe UI Semilight" charset="0"/>
            </a:endParaRPr>
          </a:p>
        </p:txBody>
      </p:sp>
      <p:sp>
        <p:nvSpPr>
          <p:cNvPr id="18" name="Rectangle 17">
            <a:extLst>
              <a:ext uri="{FF2B5EF4-FFF2-40B4-BE49-F238E27FC236}">
                <a16:creationId xmlns:a16="http://schemas.microsoft.com/office/drawing/2014/main" id="{38DBDEC9-6894-4C0D-8E18-C445ED810DEC}"/>
              </a:ext>
            </a:extLst>
          </p:cNvPr>
          <p:cNvSpPr/>
          <p:nvPr/>
        </p:nvSpPr>
        <p:spPr>
          <a:xfrm>
            <a:off x="9264550" y="2068808"/>
            <a:ext cx="2749709" cy="475219"/>
          </a:xfrm>
          <a:prstGeom prst="rect">
            <a:avLst/>
          </a:prstGeom>
        </p:spPr>
        <p:txBody>
          <a:bodyPr wrap="square">
            <a:spAutoFit/>
          </a:bodyPr>
          <a:lstStyle/>
          <a:p>
            <a:pPr defTabSz="914225">
              <a:spcBef>
                <a:spcPts val="1400"/>
              </a:spcBef>
              <a:defRPr/>
            </a:pPr>
            <a:r>
              <a:rPr lang="en-US" sz="1400" b="1" spc="170" dirty="0">
                <a:solidFill>
                  <a:srgbClr val="0078D7"/>
                </a:solidFill>
                <a:latin typeface="Segoe UI Semibold" charset="0"/>
                <a:ea typeface="Segoe UI Semibold" charset="0"/>
                <a:cs typeface="Segoe UI Semibold" charset="0"/>
              </a:rPr>
              <a:t>Managed SSIS in Azure</a:t>
            </a:r>
            <a:br>
              <a:rPr lang="en-US" sz="1200" b="1" spc="170" dirty="0">
                <a:solidFill>
                  <a:srgbClr val="0078D7"/>
                </a:solidFill>
                <a:latin typeface="Segoe UI Semibold" charset="0"/>
                <a:ea typeface="Segoe UI Semibold" charset="0"/>
                <a:cs typeface="Segoe UI Semibold" charset="0"/>
              </a:rPr>
            </a:br>
            <a:endParaRPr lang="en-US" sz="1100" spc="170" dirty="0">
              <a:solidFill>
                <a:srgbClr val="0078D7"/>
              </a:solidFill>
              <a:latin typeface="Segoe UI Semilight" charset="0"/>
              <a:ea typeface="Segoe UI Semilight" charset="0"/>
              <a:cs typeface="Segoe UI Semilight" charset="0"/>
            </a:endParaRPr>
          </a:p>
        </p:txBody>
      </p:sp>
    </p:spTree>
    <p:extLst>
      <p:ext uri="{BB962C8B-B14F-4D97-AF65-F5344CB8AC3E}">
        <p14:creationId xmlns:p14="http://schemas.microsoft.com/office/powerpoint/2010/main" val="290104064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defTabSz="932418">
              <a:lnSpc>
                <a:spcPct val="100000"/>
              </a:lnSpc>
              <a:spcBef>
                <a:spcPts val="0"/>
              </a:spcBef>
              <a:defRPr/>
            </a:pPr>
            <a:r>
              <a:rPr lang="en-US" dirty="0"/>
              <a:t>Consistent data platform across on-premises and cloud</a:t>
            </a:r>
            <a:br>
              <a:rPr lang="en-US" dirty="0"/>
            </a:br>
            <a:r>
              <a:rPr lang="en-US" sz="2000" b="1" kern="0" cap="none" spc="100" dirty="0">
                <a:ln>
                  <a:noFill/>
                </a:ln>
                <a:solidFill>
                  <a:srgbClr val="FFFFFF"/>
                </a:solidFill>
                <a:latin typeface="Segoe UI Semibold" charset="0"/>
                <a:cs typeface="Segoe UI Semibold" charset="0"/>
              </a:rPr>
              <a:t>Least vulnerable across all environments</a:t>
            </a:r>
            <a:endParaRPr lang="en-US" dirty="0"/>
          </a:p>
        </p:txBody>
      </p:sp>
      <p:sp>
        <p:nvSpPr>
          <p:cNvPr id="2" name="Text Placeholder 1"/>
          <p:cNvSpPr>
            <a:spLocks noGrp="1"/>
          </p:cNvSpPr>
          <p:nvPr>
            <p:ph type="body" sz="quarter" idx="10"/>
          </p:nvPr>
        </p:nvSpPr>
        <p:spPr>
          <a:xfrm>
            <a:off x="270068" y="2920713"/>
            <a:ext cx="4770168" cy="1979748"/>
          </a:xfrm>
        </p:spPr>
        <p:txBody>
          <a:bodyPr/>
          <a:lstStyle/>
          <a:p>
            <a:pPr lvl="0"/>
            <a:r>
              <a:rPr lang="en-US" dirty="0"/>
              <a:t>Develop once and deploy anywhere </a:t>
            </a:r>
          </a:p>
          <a:p>
            <a:pPr lvl="0"/>
            <a:r>
              <a:rPr lang="en-US" dirty="0"/>
              <a:t>Common tools for development and management</a:t>
            </a:r>
          </a:p>
          <a:p>
            <a:pPr lvl="0"/>
            <a:r>
              <a:rPr lang="en-US" dirty="0"/>
              <a:t>Common T-SQL surface area </a:t>
            </a:r>
          </a:p>
          <a:p>
            <a:pPr lvl="0"/>
            <a:r>
              <a:rPr lang="en-US" dirty="0"/>
              <a:t>Simple cloud migration </a:t>
            </a:r>
          </a:p>
          <a:p>
            <a:pPr lvl="0"/>
            <a:r>
              <a:rPr lang="en-US" dirty="0"/>
              <a:t>Single vendor for support </a:t>
            </a:r>
          </a:p>
        </p:txBody>
      </p:sp>
      <p:sp>
        <p:nvSpPr>
          <p:cNvPr id="4" name="TextBox 3"/>
          <p:cNvSpPr txBox="1"/>
          <p:nvPr/>
        </p:nvSpPr>
        <p:spPr>
          <a:xfrm>
            <a:off x="10360343" y="4859497"/>
            <a:ext cx="1244074" cy="312029"/>
          </a:xfrm>
          <a:prstGeom prst="rect">
            <a:avLst/>
          </a:prstGeom>
          <a:noFill/>
        </p:spPr>
        <p:txBody>
          <a:bodyPr wrap="none" rtlCol="0">
            <a:spAutoFit/>
          </a:bodyPr>
          <a:lstStyle/>
          <a:p>
            <a:pPr algn="r" defTabSz="9325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On-premises</a:t>
            </a:r>
          </a:p>
        </p:txBody>
      </p:sp>
      <p:sp>
        <p:nvSpPr>
          <p:cNvPr id="5" name="TextBox 4"/>
          <p:cNvSpPr txBox="1"/>
          <p:nvPr/>
        </p:nvSpPr>
        <p:spPr>
          <a:xfrm flipH="1">
            <a:off x="10858761" y="2810388"/>
            <a:ext cx="683124" cy="312029"/>
          </a:xfrm>
          <a:prstGeom prst="rect">
            <a:avLst/>
          </a:prstGeom>
          <a:noFill/>
        </p:spPr>
        <p:txBody>
          <a:bodyPr wrap="square" rtlCol="0">
            <a:spAutoFit/>
          </a:bodyPr>
          <a:lstStyle/>
          <a:p>
            <a:pPr algn="r" defTabSz="9325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IaaS</a:t>
            </a:r>
          </a:p>
        </p:txBody>
      </p:sp>
      <p:sp>
        <p:nvSpPr>
          <p:cNvPr id="6" name="TextBox 5"/>
          <p:cNvSpPr txBox="1"/>
          <p:nvPr/>
        </p:nvSpPr>
        <p:spPr>
          <a:xfrm flipH="1">
            <a:off x="9869283" y="758384"/>
            <a:ext cx="1811352" cy="312029"/>
          </a:xfrm>
          <a:prstGeom prst="rect">
            <a:avLst/>
          </a:prstGeom>
          <a:noFill/>
        </p:spPr>
        <p:txBody>
          <a:bodyPr wrap="square" rtlCol="0">
            <a:spAutoFit/>
          </a:bodyPr>
          <a:lstStyle/>
          <a:p>
            <a:pPr algn="r" defTabSz="9325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PaaS</a:t>
            </a:r>
          </a:p>
        </p:txBody>
      </p:sp>
      <p:sp>
        <p:nvSpPr>
          <p:cNvPr id="15" name="Rectangle 14"/>
          <p:cNvSpPr/>
          <p:nvPr/>
        </p:nvSpPr>
        <p:spPr>
          <a:xfrm>
            <a:off x="6868378" y="4054660"/>
            <a:ext cx="1025260" cy="406208"/>
          </a:xfrm>
          <a:prstGeom prst="rect">
            <a:avLst/>
          </a:prstGeom>
        </p:spPr>
        <p:txBody>
          <a:bodyPr wrap="square">
            <a:spAutoFit/>
          </a:bodyPr>
          <a:lstStyle/>
          <a:p>
            <a:pPr algn="ctr" defTabSz="931326">
              <a:defRPr/>
            </a:pPr>
            <a:r>
              <a:rPr lang="en-US" sz="1000" b="1" kern="0" dirty="0">
                <a:ln>
                  <a:solidFill>
                    <a:srgbClr val="FFFFFF">
                      <a:alpha val="0"/>
                    </a:srgbClr>
                  </a:solidFill>
                </a:ln>
                <a:solidFill>
                  <a:srgbClr val="000000"/>
                </a:solidFill>
                <a:latin typeface="Segoe UI Semibold" charset="0"/>
                <a:cs typeface="Segoe UI Semibold" charset="0"/>
              </a:rPr>
              <a:t>SQL Server </a:t>
            </a:r>
            <a:br>
              <a:rPr lang="en-US" sz="1000" b="1" kern="0" dirty="0">
                <a:ln>
                  <a:solidFill>
                    <a:srgbClr val="FFFFFF">
                      <a:alpha val="0"/>
                    </a:srgbClr>
                  </a:solidFill>
                </a:ln>
                <a:solidFill>
                  <a:srgbClr val="000000"/>
                </a:solidFill>
                <a:latin typeface="Segoe UI Semibold" charset="0"/>
                <a:cs typeface="Segoe UI Semibold" charset="0"/>
              </a:rPr>
            </a:br>
            <a:r>
              <a:rPr lang="en-US" sz="1000" b="1" kern="0" dirty="0">
                <a:ln>
                  <a:solidFill>
                    <a:srgbClr val="FFFFFF">
                      <a:alpha val="0"/>
                    </a:srgbClr>
                  </a:solidFill>
                </a:ln>
                <a:solidFill>
                  <a:srgbClr val="000000"/>
                </a:solidFill>
                <a:latin typeface="Segoe UI Semibold" charset="0"/>
                <a:cs typeface="Segoe UI Semibold" charset="0"/>
              </a:rPr>
              <a:t>in Azure VM</a:t>
            </a:r>
          </a:p>
        </p:txBody>
      </p:sp>
      <p:sp>
        <p:nvSpPr>
          <p:cNvPr id="21" name="Rectangle 20"/>
          <p:cNvSpPr/>
          <p:nvPr/>
        </p:nvSpPr>
        <p:spPr>
          <a:xfrm>
            <a:off x="8716224" y="2184857"/>
            <a:ext cx="1814662" cy="249264"/>
          </a:xfrm>
          <a:prstGeom prst="rect">
            <a:avLst/>
          </a:prstGeom>
        </p:spPr>
        <p:txBody>
          <a:bodyPr wrap="none">
            <a:spAutoFit/>
          </a:bodyPr>
          <a:lstStyle/>
          <a:p>
            <a:pPr algn="ctr" defTabSz="931326">
              <a:defRPr/>
            </a:pPr>
            <a:r>
              <a:rPr lang="en-US" sz="1000" b="1" kern="0" dirty="0">
                <a:ln>
                  <a:solidFill>
                    <a:srgbClr val="FFFFFF">
                      <a:alpha val="0"/>
                    </a:srgbClr>
                  </a:solidFill>
                </a:ln>
                <a:solidFill>
                  <a:srgbClr val="000000"/>
                </a:solidFill>
                <a:latin typeface="Segoe UI Semibold" charset="0"/>
                <a:cs typeface="Segoe UI Semibold" charset="0"/>
              </a:rPr>
              <a:t>Azure SQL Data Warehouse</a:t>
            </a:r>
          </a:p>
        </p:txBody>
      </p:sp>
      <p:sp>
        <p:nvSpPr>
          <p:cNvPr id="24" name="Rectangle 23"/>
          <p:cNvSpPr/>
          <p:nvPr/>
        </p:nvSpPr>
        <p:spPr>
          <a:xfrm>
            <a:off x="6491838" y="2181306"/>
            <a:ext cx="1778341" cy="398279"/>
          </a:xfrm>
          <a:prstGeom prst="rect">
            <a:avLst/>
          </a:prstGeom>
        </p:spPr>
        <p:txBody>
          <a:bodyPr wrap="square">
            <a:spAutoFit/>
          </a:bodyPr>
          <a:lstStyle/>
          <a:p>
            <a:pPr algn="ctr" defTabSz="931326">
              <a:defRPr/>
            </a:pPr>
            <a:r>
              <a:rPr lang="en-US" sz="1000" b="1" kern="0" dirty="0">
                <a:ln>
                  <a:solidFill>
                    <a:srgbClr val="FFFFFF">
                      <a:alpha val="0"/>
                    </a:srgbClr>
                  </a:solidFill>
                </a:ln>
                <a:solidFill>
                  <a:srgbClr val="000000"/>
                </a:solidFill>
                <a:latin typeface="Segoe UI Semibold" charset="0"/>
                <a:cs typeface="Segoe UI Semibold" charset="0"/>
              </a:rPr>
              <a:t>Azure SQL Database</a:t>
            </a:r>
          </a:p>
          <a:p>
            <a:pPr algn="ctr" defTabSz="931326">
              <a:defRPr/>
            </a:pPr>
            <a:r>
              <a:rPr lang="en-US" sz="1000" b="1" kern="0" dirty="0">
                <a:ln>
                  <a:solidFill>
                    <a:srgbClr val="FFFFFF">
                      <a:alpha val="0"/>
                    </a:srgbClr>
                  </a:solidFill>
                </a:ln>
                <a:solidFill>
                  <a:srgbClr val="000000"/>
                </a:solidFill>
                <a:latin typeface="Segoe UI Semibold" charset="0"/>
                <a:cs typeface="Segoe UI Semibold" charset="0"/>
              </a:rPr>
              <a:t>(SQL Server++)</a:t>
            </a:r>
          </a:p>
        </p:txBody>
      </p:sp>
      <p:cxnSp>
        <p:nvCxnSpPr>
          <p:cNvPr id="26" name="Straight Connector 25"/>
          <p:cNvCxnSpPr>
            <a:cxnSpLocks/>
          </p:cNvCxnSpPr>
          <p:nvPr/>
        </p:nvCxnSpPr>
        <p:spPr>
          <a:xfrm flipV="1">
            <a:off x="5602194" y="698239"/>
            <a:ext cx="5954271" cy="1"/>
          </a:xfrm>
          <a:prstGeom prst="line">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7" name="Straight Connector 26"/>
          <p:cNvCxnSpPr>
            <a:cxnSpLocks/>
          </p:cNvCxnSpPr>
          <p:nvPr/>
        </p:nvCxnSpPr>
        <p:spPr>
          <a:xfrm>
            <a:off x="5602194" y="2750244"/>
            <a:ext cx="5954271" cy="0"/>
          </a:xfrm>
          <a:prstGeom prst="line">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8" name="Straight Connector 27"/>
          <p:cNvCxnSpPr>
            <a:cxnSpLocks/>
          </p:cNvCxnSpPr>
          <p:nvPr/>
        </p:nvCxnSpPr>
        <p:spPr>
          <a:xfrm>
            <a:off x="5597624" y="4802249"/>
            <a:ext cx="5958842" cy="0"/>
          </a:xfrm>
          <a:prstGeom prst="line">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9" name="Rectangle 28"/>
          <p:cNvSpPr/>
          <p:nvPr/>
        </p:nvSpPr>
        <p:spPr bwMode="auto">
          <a:xfrm>
            <a:off x="366713" y="-928916"/>
            <a:ext cx="3472637" cy="527372"/>
          </a:xfrm>
          <a:prstGeom prst="rect">
            <a:avLst/>
          </a:prstGeom>
          <a:noFill/>
          <a:ln w="6350">
            <a:noFill/>
            <a:headEnd type="none" w="med" len="med"/>
            <a:tailEnd type="none" w="med" len="med"/>
          </a:ln>
        </p:spPr>
        <p:txBody>
          <a:bodyPr rot="0" spcFirstLastPara="0" vertOverflow="overflow" horzOverflow="overflow" vert="horz" wrap="square" lIns="93226" tIns="46612" rIns="91404" bIns="45702" numCol="1" spcCol="0" rtlCol="0" fromWordArt="0" anchor="ctr" anchorCtr="0" forceAA="0" compatLnSpc="1">
            <a:prstTxWarp prst="textNoShape">
              <a:avLst/>
            </a:prstTxWarp>
            <a:noAutofit/>
          </a:bodyPr>
          <a:lstStyle/>
          <a:p>
            <a:pPr defTabSz="932418">
              <a:defRPr/>
            </a:pPr>
            <a:endParaRPr lang="en-US" sz="2000" b="1" kern="0" spc="100" dirty="0">
              <a:solidFill>
                <a:srgbClr val="FFFFFF"/>
              </a:solidFill>
              <a:latin typeface="Segoe UI Semibold" charset="0"/>
              <a:cs typeface="Segoe UI Semibold" charset="0"/>
            </a:endParaRPr>
          </a:p>
        </p:txBody>
      </p:sp>
      <p:sp>
        <p:nvSpPr>
          <p:cNvPr id="76" name="Rectangle 75"/>
          <p:cNvSpPr/>
          <p:nvPr/>
        </p:nvSpPr>
        <p:spPr>
          <a:xfrm>
            <a:off x="6968935" y="6264462"/>
            <a:ext cx="824148" cy="249264"/>
          </a:xfrm>
          <a:prstGeom prst="rect">
            <a:avLst/>
          </a:prstGeom>
          <a:noFill/>
        </p:spPr>
        <p:txBody>
          <a:bodyPr wrap="none">
            <a:spAutoFit/>
          </a:bodyPr>
          <a:lstStyle/>
          <a:p>
            <a:pPr algn="ctr" defTabSz="931326">
              <a:defRPr/>
            </a:pPr>
            <a:r>
              <a:rPr lang="en-US" sz="1000" b="1" kern="0" dirty="0">
                <a:ln>
                  <a:solidFill>
                    <a:srgbClr val="FFFFFF">
                      <a:alpha val="0"/>
                    </a:srgbClr>
                  </a:solidFill>
                </a:ln>
                <a:solidFill>
                  <a:srgbClr val="000000"/>
                </a:solidFill>
                <a:latin typeface="Segoe UI Semibold" charset="0"/>
                <a:cs typeface="Segoe UI Semibold" charset="0"/>
              </a:rPr>
              <a:t>SQL Server</a:t>
            </a:r>
          </a:p>
        </p:txBody>
      </p:sp>
      <p:sp>
        <p:nvSpPr>
          <p:cNvPr id="84" name="Rectangle 83"/>
          <p:cNvSpPr/>
          <p:nvPr/>
        </p:nvSpPr>
        <p:spPr>
          <a:xfrm>
            <a:off x="9037847" y="4059539"/>
            <a:ext cx="1171419" cy="406208"/>
          </a:xfrm>
          <a:prstGeom prst="rect">
            <a:avLst/>
          </a:prstGeom>
        </p:spPr>
        <p:txBody>
          <a:bodyPr wrap="square">
            <a:spAutoFit/>
          </a:bodyPr>
          <a:lstStyle/>
          <a:p>
            <a:pPr algn="ctr" defTabSz="931326">
              <a:defRPr/>
            </a:pPr>
            <a:r>
              <a:rPr lang="en-US" sz="1000" b="1" kern="0" dirty="0">
                <a:ln>
                  <a:solidFill>
                    <a:srgbClr val="FFFFFF">
                      <a:alpha val="0"/>
                    </a:srgbClr>
                  </a:solidFill>
                </a:ln>
                <a:solidFill>
                  <a:srgbClr val="000000"/>
                </a:solidFill>
                <a:latin typeface="Segoe UI Semibold" charset="0"/>
                <a:cs typeface="Segoe UI Semibold" charset="0"/>
              </a:rPr>
              <a:t>SQL Server (DW)</a:t>
            </a:r>
          </a:p>
          <a:p>
            <a:pPr algn="ctr" defTabSz="931326">
              <a:defRPr/>
            </a:pPr>
            <a:r>
              <a:rPr lang="en-US" sz="1000" b="1" kern="0" dirty="0">
                <a:ln>
                  <a:solidFill>
                    <a:srgbClr val="FFFFFF">
                      <a:alpha val="0"/>
                    </a:srgbClr>
                  </a:solidFill>
                </a:ln>
                <a:solidFill>
                  <a:srgbClr val="000000"/>
                </a:solidFill>
                <a:latin typeface="Segoe UI Semibold" charset="0"/>
                <a:cs typeface="Segoe UI Semibold" charset="0"/>
              </a:rPr>
              <a:t>in Azure VM</a:t>
            </a:r>
          </a:p>
        </p:txBody>
      </p:sp>
      <p:sp>
        <p:nvSpPr>
          <p:cNvPr id="39" name="Rectangle 38"/>
          <p:cNvSpPr/>
          <p:nvPr/>
        </p:nvSpPr>
        <p:spPr>
          <a:xfrm>
            <a:off x="8858070" y="6215343"/>
            <a:ext cx="1530971" cy="406208"/>
          </a:xfrm>
          <a:prstGeom prst="rect">
            <a:avLst/>
          </a:prstGeom>
        </p:spPr>
        <p:txBody>
          <a:bodyPr wrap="none">
            <a:spAutoFit/>
          </a:bodyPr>
          <a:lstStyle/>
          <a:p>
            <a:pPr algn="ctr" defTabSz="931326">
              <a:defRPr/>
            </a:pPr>
            <a:r>
              <a:rPr lang="en-US" sz="1000" b="1" kern="0" dirty="0">
                <a:ln>
                  <a:solidFill>
                    <a:srgbClr val="FFFFFF">
                      <a:alpha val="0"/>
                    </a:srgbClr>
                  </a:solidFill>
                </a:ln>
                <a:solidFill>
                  <a:srgbClr val="000000"/>
                </a:solidFill>
                <a:latin typeface="Segoe UI Semibold" charset="0"/>
                <a:cs typeface="Segoe UI Semibold" charset="0"/>
              </a:rPr>
              <a:t>SQL Server (DW)</a:t>
            </a:r>
          </a:p>
          <a:p>
            <a:pPr algn="ctr" defTabSz="931326">
              <a:defRPr/>
            </a:pPr>
            <a:r>
              <a:rPr lang="en-US" sz="1000" b="1" kern="0" dirty="0">
                <a:ln>
                  <a:solidFill>
                    <a:srgbClr val="FFFFFF">
                      <a:alpha val="0"/>
                    </a:srgbClr>
                  </a:solidFill>
                </a:ln>
                <a:solidFill>
                  <a:srgbClr val="000000"/>
                </a:solidFill>
                <a:latin typeface="Segoe UI Semibold" charset="0"/>
                <a:cs typeface="Segoe UI Semibold" charset="0"/>
              </a:rPr>
              <a:t>Reference Architecture</a:t>
            </a:r>
          </a:p>
        </p:txBody>
      </p:sp>
      <p:sp>
        <p:nvSpPr>
          <p:cNvPr id="64" name="Triangle 3">
            <a:extLst>
              <a:ext uri="{FF2B5EF4-FFF2-40B4-BE49-F238E27FC236}">
                <a16:creationId xmlns:a16="http://schemas.microsoft.com/office/drawing/2014/main" id="{A44655C9-680B-409E-BF7D-49DDD71B81D6}"/>
              </a:ext>
            </a:extLst>
          </p:cNvPr>
          <p:cNvSpPr/>
          <p:nvPr/>
        </p:nvSpPr>
        <p:spPr>
          <a:xfrm rot="5400000">
            <a:off x="175629" y="6577366"/>
            <a:ext cx="196746" cy="91589"/>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srgbClr val="FFFFFF"/>
              </a:solidFill>
              <a:latin typeface="Segoe UI"/>
            </a:endParaRPr>
          </a:p>
        </p:txBody>
      </p:sp>
      <p:sp>
        <p:nvSpPr>
          <p:cNvPr id="65" name="Text Placeholder 3">
            <a:extLst>
              <a:ext uri="{FF2B5EF4-FFF2-40B4-BE49-F238E27FC236}">
                <a16:creationId xmlns:a16="http://schemas.microsoft.com/office/drawing/2014/main" id="{2DFC7DDC-6EE7-4ED3-81CB-323247EB8F57}"/>
              </a:ext>
            </a:extLst>
          </p:cNvPr>
          <p:cNvSpPr txBox="1">
            <a:spLocks/>
          </p:cNvSpPr>
          <p:nvPr/>
        </p:nvSpPr>
        <p:spPr>
          <a:xfrm>
            <a:off x="221079" y="6513037"/>
            <a:ext cx="3060816" cy="233557"/>
          </a:xfrm>
          <a:prstGeom prst="rect">
            <a:avLst/>
          </a:prstGeom>
          <a:noFill/>
        </p:spPr>
        <p:txBody>
          <a:bodyPr lIns="182854">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225">
              <a:buClr>
                <a:srgbClr val="D2D2D2"/>
              </a:buClr>
              <a:buNone/>
            </a:pPr>
            <a:r>
              <a:rPr lang="en-US" sz="1000" b="1" dirty="0">
                <a:solidFill>
                  <a:srgbClr val="FFFFFF"/>
                </a:solidFill>
                <a:latin typeface="Segoe UI" charset="0"/>
                <a:ea typeface="Segoe UI" charset="0"/>
                <a:cs typeface="Segoe UI" charset="0"/>
              </a:rPr>
              <a:t>Most consistent data platform</a:t>
            </a:r>
          </a:p>
        </p:txBody>
      </p:sp>
      <p:cxnSp>
        <p:nvCxnSpPr>
          <p:cNvPr id="16" name="Straight Arrow Connector 15">
            <a:extLst>
              <a:ext uri="{FF2B5EF4-FFF2-40B4-BE49-F238E27FC236}">
                <a16:creationId xmlns:a16="http://schemas.microsoft.com/office/drawing/2014/main" id="{971D479C-9B12-490D-945C-7F03066F1E00}"/>
              </a:ext>
            </a:extLst>
          </p:cNvPr>
          <p:cNvCxnSpPr>
            <a:cxnSpLocks/>
          </p:cNvCxnSpPr>
          <p:nvPr/>
        </p:nvCxnSpPr>
        <p:spPr>
          <a:xfrm flipV="1">
            <a:off x="5597623" y="229055"/>
            <a:ext cx="0" cy="6628459"/>
          </a:xfrm>
          <a:prstGeom prst="straightConnector1">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4352D9BB-720B-4E18-8B8B-C8C7F1F9DF39}"/>
              </a:ext>
            </a:extLst>
          </p:cNvPr>
          <p:cNvGrpSpPr/>
          <p:nvPr/>
        </p:nvGrpSpPr>
        <p:grpSpPr>
          <a:xfrm>
            <a:off x="6951002" y="1207375"/>
            <a:ext cx="860012" cy="884178"/>
            <a:chOff x="2776302" y="4657642"/>
            <a:chExt cx="1550488" cy="1594059"/>
          </a:xfrm>
        </p:grpSpPr>
        <p:sp>
          <p:nvSpPr>
            <p:cNvPr id="69" name="Cylinder 68">
              <a:extLst>
                <a:ext uri="{FF2B5EF4-FFF2-40B4-BE49-F238E27FC236}">
                  <a16:creationId xmlns:a16="http://schemas.microsoft.com/office/drawing/2014/main" id="{15A7B229-2496-466E-8762-B6C663B54DF2}"/>
                </a:ext>
              </a:extLst>
            </p:cNvPr>
            <p:cNvSpPr/>
            <p:nvPr/>
          </p:nvSpPr>
          <p:spPr bwMode="auto">
            <a:xfrm>
              <a:off x="2776302" y="4657642"/>
              <a:ext cx="1043832" cy="1371349"/>
            </a:xfrm>
            <a:prstGeom prst="can">
              <a:avLst>
                <a:gd name="adj" fmla="val 3953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dirty="0">
                  <a:solidFill>
                    <a:srgbClr val="0078D7"/>
                  </a:solidFill>
                  <a:latin typeface="Segoe UI Light"/>
                  <a:ea typeface="Segoe UI" pitchFamily="34" charset="0"/>
                  <a:cs typeface="Segoe UI" pitchFamily="34" charset="0"/>
                </a:rPr>
                <a:t>SQL</a:t>
              </a:r>
            </a:p>
          </p:txBody>
        </p:sp>
        <p:sp>
          <p:nvSpPr>
            <p:cNvPr id="70" name="Freeform 146">
              <a:extLst>
                <a:ext uri="{FF2B5EF4-FFF2-40B4-BE49-F238E27FC236}">
                  <a16:creationId xmlns:a16="http://schemas.microsoft.com/office/drawing/2014/main" id="{F8903BD5-7677-4E7B-A49C-4F0904A32F94}"/>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sz="1961" b="1" dirty="0">
                <a:solidFill>
                  <a:srgbClr val="FFFFFF"/>
                </a:solidFill>
                <a:latin typeface="Segoe UI Light"/>
                <a:ea typeface="Segoe UI" pitchFamily="34" charset="0"/>
                <a:cs typeface="Segoe UI" pitchFamily="34" charset="0"/>
              </a:endParaRPr>
            </a:p>
          </p:txBody>
        </p:sp>
      </p:grpSp>
      <p:sp>
        <p:nvSpPr>
          <p:cNvPr id="72" name="Cylinder 71">
            <a:extLst>
              <a:ext uri="{FF2B5EF4-FFF2-40B4-BE49-F238E27FC236}">
                <a16:creationId xmlns:a16="http://schemas.microsoft.com/office/drawing/2014/main" id="{357C5F2C-1714-40F5-97CE-C79C233F8253}"/>
              </a:ext>
            </a:extLst>
          </p:cNvPr>
          <p:cNvSpPr/>
          <p:nvPr/>
        </p:nvSpPr>
        <p:spPr bwMode="auto">
          <a:xfrm>
            <a:off x="7091516" y="5407231"/>
            <a:ext cx="578984" cy="760648"/>
          </a:xfrm>
          <a:prstGeom prst="can">
            <a:avLst>
              <a:gd name="adj" fmla="val 3953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dirty="0">
                <a:solidFill>
                  <a:srgbClr val="0078D7"/>
                </a:solidFill>
                <a:latin typeface="Segoe UI Light"/>
                <a:ea typeface="Segoe UI" pitchFamily="34" charset="0"/>
                <a:cs typeface="Segoe UI" pitchFamily="34" charset="0"/>
              </a:rPr>
              <a:t>SQL</a:t>
            </a:r>
          </a:p>
        </p:txBody>
      </p:sp>
      <p:grpSp>
        <p:nvGrpSpPr>
          <p:cNvPr id="22" name="Group 21">
            <a:extLst>
              <a:ext uri="{FF2B5EF4-FFF2-40B4-BE49-F238E27FC236}">
                <a16:creationId xmlns:a16="http://schemas.microsoft.com/office/drawing/2014/main" id="{9A07571A-8DE7-4F98-AA13-DCDB3ECAA906}"/>
              </a:ext>
            </a:extLst>
          </p:cNvPr>
          <p:cNvGrpSpPr/>
          <p:nvPr/>
        </p:nvGrpSpPr>
        <p:grpSpPr>
          <a:xfrm>
            <a:off x="6785213" y="3139817"/>
            <a:ext cx="1191591" cy="754645"/>
            <a:chOff x="6903609" y="3414178"/>
            <a:chExt cx="967555" cy="612762"/>
          </a:xfrm>
        </p:grpSpPr>
        <p:sp>
          <p:nvSpPr>
            <p:cNvPr id="109" name="Freeform 146">
              <a:extLst>
                <a:ext uri="{FF2B5EF4-FFF2-40B4-BE49-F238E27FC236}">
                  <a16:creationId xmlns:a16="http://schemas.microsoft.com/office/drawing/2014/main" id="{72499C37-F60A-4D3B-8E51-BEA0FDE5BE15}"/>
                </a:ext>
              </a:extLst>
            </p:cNvPr>
            <p:cNvSpPr>
              <a:spLocks noChangeAspect="1"/>
            </p:cNvSpPr>
            <p:nvPr/>
          </p:nvSpPr>
          <p:spPr bwMode="auto">
            <a:xfrm>
              <a:off x="6903609" y="3414178"/>
              <a:ext cx="967555" cy="61276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sz="1961" b="1" dirty="0">
                <a:solidFill>
                  <a:srgbClr val="FFFFFF"/>
                </a:solidFill>
                <a:latin typeface="Segoe UI Light"/>
                <a:ea typeface="Segoe UI" pitchFamily="34" charset="0"/>
                <a:cs typeface="Segoe UI" pitchFamily="34" charset="0"/>
              </a:endParaRPr>
            </a:p>
          </p:txBody>
        </p:sp>
        <p:sp>
          <p:nvSpPr>
            <p:cNvPr id="81" name="Cylinder 80">
              <a:extLst>
                <a:ext uri="{FF2B5EF4-FFF2-40B4-BE49-F238E27FC236}">
                  <a16:creationId xmlns:a16="http://schemas.microsoft.com/office/drawing/2014/main" id="{AA5CD53E-73FA-4AB7-A481-7C25F8592D57}"/>
                </a:ext>
              </a:extLst>
            </p:cNvPr>
            <p:cNvSpPr/>
            <p:nvPr/>
          </p:nvSpPr>
          <p:spPr bwMode="auto">
            <a:xfrm>
              <a:off x="7285039" y="3553650"/>
              <a:ext cx="283841" cy="372900"/>
            </a:xfrm>
            <a:prstGeom prst="can">
              <a:avLst>
                <a:gd name="adj" fmla="val 3953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dirty="0">
                <a:solidFill>
                  <a:srgbClr val="0078D7"/>
                </a:solidFill>
                <a:latin typeface="Segoe UI Light"/>
                <a:ea typeface="Segoe UI" pitchFamily="34" charset="0"/>
                <a:cs typeface="Segoe UI" pitchFamily="34" charset="0"/>
              </a:endParaRPr>
            </a:p>
          </p:txBody>
        </p:sp>
      </p:grpSp>
      <p:grpSp>
        <p:nvGrpSpPr>
          <p:cNvPr id="31" name="Group 30">
            <a:extLst>
              <a:ext uri="{FF2B5EF4-FFF2-40B4-BE49-F238E27FC236}">
                <a16:creationId xmlns:a16="http://schemas.microsoft.com/office/drawing/2014/main" id="{BEE82A67-7CD3-4186-B066-C991B6A58B65}"/>
              </a:ext>
            </a:extLst>
          </p:cNvPr>
          <p:cNvGrpSpPr/>
          <p:nvPr/>
        </p:nvGrpSpPr>
        <p:grpSpPr>
          <a:xfrm>
            <a:off x="9027762" y="3135970"/>
            <a:ext cx="1191591" cy="754645"/>
            <a:chOff x="9013096" y="3206923"/>
            <a:chExt cx="967555" cy="612762"/>
          </a:xfrm>
        </p:grpSpPr>
        <p:sp>
          <p:nvSpPr>
            <p:cNvPr id="130" name="Freeform 146">
              <a:extLst>
                <a:ext uri="{FF2B5EF4-FFF2-40B4-BE49-F238E27FC236}">
                  <a16:creationId xmlns:a16="http://schemas.microsoft.com/office/drawing/2014/main" id="{2E41C8EF-B50C-47CE-AF0C-DB7435A8BF02}"/>
                </a:ext>
              </a:extLst>
            </p:cNvPr>
            <p:cNvSpPr>
              <a:spLocks noChangeAspect="1"/>
            </p:cNvSpPr>
            <p:nvPr/>
          </p:nvSpPr>
          <p:spPr bwMode="auto">
            <a:xfrm>
              <a:off x="9013096" y="3206923"/>
              <a:ext cx="967555" cy="61276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sz="1961" b="1" dirty="0">
                <a:solidFill>
                  <a:srgbClr val="FFFFFF"/>
                </a:solidFill>
                <a:latin typeface="Segoe UI Light"/>
                <a:ea typeface="Segoe UI" pitchFamily="34" charset="0"/>
                <a:cs typeface="Segoe UI" pitchFamily="34" charset="0"/>
              </a:endParaRPr>
            </a:p>
          </p:txBody>
        </p:sp>
        <p:grpSp>
          <p:nvGrpSpPr>
            <p:cNvPr id="120" name="Group 119">
              <a:extLst>
                <a:ext uri="{FF2B5EF4-FFF2-40B4-BE49-F238E27FC236}">
                  <a16:creationId xmlns:a16="http://schemas.microsoft.com/office/drawing/2014/main" id="{292512CB-1552-4B9A-95BF-7525FB6DE38D}"/>
                </a:ext>
              </a:extLst>
            </p:cNvPr>
            <p:cNvGrpSpPr/>
            <p:nvPr/>
          </p:nvGrpSpPr>
          <p:grpSpPr>
            <a:xfrm>
              <a:off x="9334178" y="3334637"/>
              <a:ext cx="419423" cy="411891"/>
              <a:chOff x="2549926" y="1227604"/>
              <a:chExt cx="5177116" cy="5084148"/>
            </a:xfrm>
          </p:grpSpPr>
          <p:sp>
            <p:nvSpPr>
              <p:cNvPr id="121" name="Freeform: Shape 120">
                <a:extLst>
                  <a:ext uri="{FF2B5EF4-FFF2-40B4-BE49-F238E27FC236}">
                    <a16:creationId xmlns:a16="http://schemas.microsoft.com/office/drawing/2014/main" id="{10695D12-911B-442E-833C-704663E860AB}"/>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extLst>
                  <a:ext uri="{FF2B5EF4-FFF2-40B4-BE49-F238E27FC236}">
                    <a16:creationId xmlns:a16="http://schemas.microsoft.com/office/drawing/2014/main" id="{B7669A1D-D87E-4F81-B59E-F1B22D8C270F}"/>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Rectangle 122">
                <a:extLst>
                  <a:ext uri="{FF2B5EF4-FFF2-40B4-BE49-F238E27FC236}">
                    <a16:creationId xmlns:a16="http://schemas.microsoft.com/office/drawing/2014/main" id="{11297790-49EF-4DD1-93E8-6389A05F43B9}"/>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Rectangle 123">
                <a:extLst>
                  <a:ext uri="{FF2B5EF4-FFF2-40B4-BE49-F238E27FC236}">
                    <a16:creationId xmlns:a16="http://schemas.microsoft.com/office/drawing/2014/main" id="{3822F8D2-FBB8-449C-AF0B-1F1D164295D7}"/>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Rectangle 124">
                <a:extLst>
                  <a:ext uri="{FF2B5EF4-FFF2-40B4-BE49-F238E27FC236}">
                    <a16:creationId xmlns:a16="http://schemas.microsoft.com/office/drawing/2014/main" id="{7A05A784-B673-4999-AEFF-A8DCB09F299E}"/>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DEE0DC85-92D2-4BDE-A1ED-B5FA7FBC00A6}"/>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Rectangle 126">
                <a:extLst>
                  <a:ext uri="{FF2B5EF4-FFF2-40B4-BE49-F238E27FC236}">
                    <a16:creationId xmlns:a16="http://schemas.microsoft.com/office/drawing/2014/main" id="{CB2DD639-28C0-4FF3-AADE-21A6EDB689CB}"/>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Cylinder 127">
                <a:extLst>
                  <a:ext uri="{FF2B5EF4-FFF2-40B4-BE49-F238E27FC236}">
                    <a16:creationId xmlns:a16="http://schemas.microsoft.com/office/drawing/2014/main" id="{320E3834-25E8-4402-85F2-FDE8E7040FAE}"/>
                  </a:ext>
                </a:extLst>
              </p:cNvPr>
              <p:cNvSpPr/>
              <p:nvPr/>
            </p:nvSpPr>
            <p:spPr bwMode="auto">
              <a:xfrm>
                <a:off x="5335724" y="3170126"/>
                <a:ext cx="2391318" cy="3141626"/>
              </a:xfrm>
              <a:prstGeom prst="can">
                <a:avLst>
                  <a:gd name="adj" fmla="val 3953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dirty="0">
                  <a:solidFill>
                    <a:srgbClr val="0078D7"/>
                  </a:solidFill>
                  <a:latin typeface="Segoe UI Light"/>
                  <a:ea typeface="Segoe UI" pitchFamily="34" charset="0"/>
                  <a:cs typeface="Segoe UI" pitchFamily="34" charset="0"/>
                </a:endParaRPr>
              </a:p>
            </p:txBody>
          </p:sp>
        </p:grpSp>
      </p:grpSp>
      <p:grpSp>
        <p:nvGrpSpPr>
          <p:cNvPr id="30" name="Group 29">
            <a:extLst>
              <a:ext uri="{FF2B5EF4-FFF2-40B4-BE49-F238E27FC236}">
                <a16:creationId xmlns:a16="http://schemas.microsoft.com/office/drawing/2014/main" id="{7C32F1EF-576C-472D-B91B-BE6B68E92A83}"/>
              </a:ext>
            </a:extLst>
          </p:cNvPr>
          <p:cNvGrpSpPr/>
          <p:nvPr/>
        </p:nvGrpSpPr>
        <p:grpSpPr>
          <a:xfrm>
            <a:off x="9183512" y="1139990"/>
            <a:ext cx="880089" cy="864285"/>
            <a:chOff x="9139330" y="1207060"/>
            <a:chExt cx="742960" cy="729618"/>
          </a:xfrm>
        </p:grpSpPr>
        <p:grpSp>
          <p:nvGrpSpPr>
            <p:cNvPr id="111" name="Group 110">
              <a:extLst>
                <a:ext uri="{FF2B5EF4-FFF2-40B4-BE49-F238E27FC236}">
                  <a16:creationId xmlns:a16="http://schemas.microsoft.com/office/drawing/2014/main" id="{BB67C329-047D-4FE4-813D-6D4B78CE153A}"/>
                </a:ext>
              </a:extLst>
            </p:cNvPr>
            <p:cNvGrpSpPr/>
            <p:nvPr/>
          </p:nvGrpSpPr>
          <p:grpSpPr>
            <a:xfrm>
              <a:off x="9139330" y="1207060"/>
              <a:ext cx="742960" cy="729618"/>
              <a:chOff x="2549926" y="1227604"/>
              <a:chExt cx="5177116" cy="5084148"/>
            </a:xfrm>
          </p:grpSpPr>
          <p:sp>
            <p:nvSpPr>
              <p:cNvPr id="112" name="Freeform: Shape 111">
                <a:extLst>
                  <a:ext uri="{FF2B5EF4-FFF2-40B4-BE49-F238E27FC236}">
                    <a16:creationId xmlns:a16="http://schemas.microsoft.com/office/drawing/2014/main" id="{95AFBC29-6D2F-4674-9F09-A793F81F1B9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9565DFFA-42A4-4AED-871B-6674BE52E1C8}"/>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Rectangle 113">
                <a:extLst>
                  <a:ext uri="{FF2B5EF4-FFF2-40B4-BE49-F238E27FC236}">
                    <a16:creationId xmlns:a16="http://schemas.microsoft.com/office/drawing/2014/main" id="{1851A8FC-7D5F-4CA0-B7AE-0355E8A3D9D1}"/>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ectangle 114">
                <a:extLst>
                  <a:ext uri="{FF2B5EF4-FFF2-40B4-BE49-F238E27FC236}">
                    <a16:creationId xmlns:a16="http://schemas.microsoft.com/office/drawing/2014/main" id="{5BEE6BA6-9426-4A13-B18E-CD6A650FE9FA}"/>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70D09EE3-252A-477D-8501-87206E0D2F22}"/>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extLst>
                  <a:ext uri="{FF2B5EF4-FFF2-40B4-BE49-F238E27FC236}">
                    <a16:creationId xmlns:a16="http://schemas.microsoft.com/office/drawing/2014/main" id="{C0BD658C-8419-4E21-AD34-096823F94881}"/>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CC3932C1-632F-47B7-AD56-5FC03593482C}"/>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Cylinder 118">
                <a:extLst>
                  <a:ext uri="{FF2B5EF4-FFF2-40B4-BE49-F238E27FC236}">
                    <a16:creationId xmlns:a16="http://schemas.microsoft.com/office/drawing/2014/main" id="{CDC728F4-EA1C-40D7-9FB6-03D117BAF3FA}"/>
                  </a:ext>
                </a:extLst>
              </p:cNvPr>
              <p:cNvSpPr/>
              <p:nvPr/>
            </p:nvSpPr>
            <p:spPr bwMode="auto">
              <a:xfrm>
                <a:off x="5335724" y="3170126"/>
                <a:ext cx="2391318" cy="3141626"/>
              </a:xfrm>
              <a:prstGeom prst="can">
                <a:avLst>
                  <a:gd name="adj" fmla="val 3953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dirty="0">
                  <a:solidFill>
                    <a:srgbClr val="0078D7"/>
                  </a:solidFill>
                  <a:latin typeface="Segoe UI Light"/>
                  <a:ea typeface="Segoe UI" pitchFamily="34" charset="0"/>
                  <a:cs typeface="Segoe UI" pitchFamily="34" charset="0"/>
                </a:endParaRPr>
              </a:p>
            </p:txBody>
          </p:sp>
        </p:grpSp>
        <p:sp>
          <p:nvSpPr>
            <p:cNvPr id="129" name="Freeform 146">
              <a:extLst>
                <a:ext uri="{FF2B5EF4-FFF2-40B4-BE49-F238E27FC236}">
                  <a16:creationId xmlns:a16="http://schemas.microsoft.com/office/drawing/2014/main" id="{EC303FAC-66F3-4029-9260-EA3562B7B43E}"/>
                </a:ext>
              </a:extLst>
            </p:cNvPr>
            <p:cNvSpPr>
              <a:spLocks noChangeAspect="1"/>
            </p:cNvSpPr>
            <p:nvPr/>
          </p:nvSpPr>
          <p:spPr bwMode="auto">
            <a:xfrm>
              <a:off x="9199025" y="1593578"/>
              <a:ext cx="430213" cy="27245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sz="1961" b="1" dirty="0">
                <a:solidFill>
                  <a:srgbClr val="FFFFFF"/>
                </a:solidFill>
                <a:latin typeface="Segoe UI Light"/>
                <a:ea typeface="Segoe UI" pitchFamily="34" charset="0"/>
                <a:cs typeface="Segoe UI" pitchFamily="34" charset="0"/>
              </a:endParaRPr>
            </a:p>
          </p:txBody>
        </p:sp>
      </p:grpSp>
      <p:grpSp>
        <p:nvGrpSpPr>
          <p:cNvPr id="132" name="Group 131">
            <a:extLst>
              <a:ext uri="{FF2B5EF4-FFF2-40B4-BE49-F238E27FC236}">
                <a16:creationId xmlns:a16="http://schemas.microsoft.com/office/drawing/2014/main" id="{1531448D-F08F-455D-B929-23719DCE2376}"/>
              </a:ext>
            </a:extLst>
          </p:cNvPr>
          <p:cNvGrpSpPr/>
          <p:nvPr/>
        </p:nvGrpSpPr>
        <p:grpSpPr>
          <a:xfrm>
            <a:off x="9252128" y="5438364"/>
            <a:ext cx="742854" cy="729515"/>
            <a:chOff x="2549926" y="1227604"/>
            <a:chExt cx="5177116" cy="5084148"/>
          </a:xfrm>
        </p:grpSpPr>
        <p:sp>
          <p:nvSpPr>
            <p:cNvPr id="134" name="Freeform: Shape 133">
              <a:extLst>
                <a:ext uri="{FF2B5EF4-FFF2-40B4-BE49-F238E27FC236}">
                  <a16:creationId xmlns:a16="http://schemas.microsoft.com/office/drawing/2014/main" id="{252BBA3B-B757-40C8-A548-FB2A53BFF06D}"/>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5" name="Rectangle 134">
              <a:extLst>
                <a:ext uri="{FF2B5EF4-FFF2-40B4-BE49-F238E27FC236}">
                  <a16:creationId xmlns:a16="http://schemas.microsoft.com/office/drawing/2014/main" id="{FF0E4984-56D1-403F-AE6E-AA60CF16A92D}"/>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6" name="Rectangle 135">
              <a:extLst>
                <a:ext uri="{FF2B5EF4-FFF2-40B4-BE49-F238E27FC236}">
                  <a16:creationId xmlns:a16="http://schemas.microsoft.com/office/drawing/2014/main" id="{4A43C797-A60B-4E91-8ECA-B7F4378DEC96}"/>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7" name="Rectangle 136">
              <a:extLst>
                <a:ext uri="{FF2B5EF4-FFF2-40B4-BE49-F238E27FC236}">
                  <a16:creationId xmlns:a16="http://schemas.microsoft.com/office/drawing/2014/main" id="{F5FDB515-8454-47D1-99E6-DE820A67C20A}"/>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8" name="Rectangle 137">
              <a:extLst>
                <a:ext uri="{FF2B5EF4-FFF2-40B4-BE49-F238E27FC236}">
                  <a16:creationId xmlns:a16="http://schemas.microsoft.com/office/drawing/2014/main" id="{8E75F286-4EFD-4CFC-966B-AFC70878852D}"/>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9" name="Rectangle 138">
              <a:extLst>
                <a:ext uri="{FF2B5EF4-FFF2-40B4-BE49-F238E27FC236}">
                  <a16:creationId xmlns:a16="http://schemas.microsoft.com/office/drawing/2014/main" id="{29337535-B96C-4AB4-B81A-416136B0F082}"/>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0" name="Rectangle 139">
              <a:extLst>
                <a:ext uri="{FF2B5EF4-FFF2-40B4-BE49-F238E27FC236}">
                  <a16:creationId xmlns:a16="http://schemas.microsoft.com/office/drawing/2014/main" id="{839D4309-6FEF-46A3-9E3F-10AD8C263DDA}"/>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1" name="Cylinder 140">
              <a:extLst>
                <a:ext uri="{FF2B5EF4-FFF2-40B4-BE49-F238E27FC236}">
                  <a16:creationId xmlns:a16="http://schemas.microsoft.com/office/drawing/2014/main" id="{69D016E5-433C-4CAE-B77D-6C67D9F35BC9}"/>
                </a:ext>
              </a:extLst>
            </p:cNvPr>
            <p:cNvSpPr/>
            <p:nvPr/>
          </p:nvSpPr>
          <p:spPr bwMode="auto">
            <a:xfrm>
              <a:off x="5335724" y="3170126"/>
              <a:ext cx="2391318" cy="3141626"/>
            </a:xfrm>
            <a:prstGeom prst="can">
              <a:avLst>
                <a:gd name="adj" fmla="val 3953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dirty="0">
                <a:solidFill>
                  <a:srgbClr val="0078D7"/>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120320815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57596" y="117163"/>
            <a:ext cx="12034404" cy="932563"/>
          </a:xfrm>
        </p:spPr>
        <p:txBody>
          <a:bodyPr/>
          <a:lstStyle/>
          <a:p>
            <a:r>
              <a:rPr lang="en-US" sz="5400" dirty="0"/>
              <a:t>Hybrid Use Benefit for SQL Server</a:t>
            </a:r>
          </a:p>
        </p:txBody>
      </p:sp>
      <p:sp>
        <p:nvSpPr>
          <p:cNvPr id="2" name="AutoShape 2" descr="Instance subnet &#10;Managed Instance#l &#10;Managedlnstance #2 &#10;Managed Instance#3 &#10;VNET &#10;REPOINTAPP &#10;RESTORE &#10;Front end subnet &#10;Customer app &#10;ClientVM &#10;BACKUPTO AZURE &#10;EXECUTION (AGENT) &#10;storage account &#10;sys PaaS(Everest) &#10;sys is OPTIONAL in this step &#10;Another variantcan be simpleindex &#10;mai ntenance ">
            <a:extLst>
              <a:ext uri="{FF2B5EF4-FFF2-40B4-BE49-F238E27FC236}">
                <a16:creationId xmlns:a16="http://schemas.microsoft.com/office/drawing/2014/main" id="{FA81B6CF-60FF-49E5-9BB2-1DF57D67EC93}"/>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4" descr="Instance subnet &#10;Managed Instance#l &#10;Managedlnstance #2 &#10;Managed Instance#3 &#10;VNET &#10;REPOINTAPP &#10;RESTORE &#10;Front end subnet &#10;Customer app &#10;ClientVM &#10;BACKUPTO AZURE &#10;EXECUTION (AGENT) &#10;storage account &#10;sys PaaS(Everest) &#10;sys is OPTIONAL in this step &#10;Another variantcan be simpleindex &#10;mai ntenance ">
            <a:extLst>
              <a:ext uri="{FF2B5EF4-FFF2-40B4-BE49-F238E27FC236}">
                <a16:creationId xmlns:a16="http://schemas.microsoft.com/office/drawing/2014/main" id="{80E7A1AB-31F3-4BA9-8B29-CECE953A75B9}"/>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 name="Picture 4">
            <a:extLst>
              <a:ext uri="{FF2B5EF4-FFF2-40B4-BE49-F238E27FC236}">
                <a16:creationId xmlns:a16="http://schemas.microsoft.com/office/drawing/2014/main" id="{EF3F5B45-6A73-4FE8-BCAA-0775F5A3872A}"/>
              </a:ext>
            </a:extLst>
          </p:cNvPr>
          <p:cNvPicPr>
            <a:picLocks noChangeAspect="1"/>
          </p:cNvPicPr>
          <p:nvPr/>
        </p:nvPicPr>
        <p:blipFill>
          <a:blip r:embed="rId3"/>
          <a:stretch>
            <a:fillRect/>
          </a:stretch>
        </p:blipFill>
        <p:spPr>
          <a:xfrm>
            <a:off x="6708913" y="2047875"/>
            <a:ext cx="4400550" cy="3067050"/>
          </a:xfrm>
          <a:prstGeom prst="rect">
            <a:avLst/>
          </a:prstGeom>
        </p:spPr>
      </p:pic>
      <p:sp>
        <p:nvSpPr>
          <p:cNvPr id="7" name="TextBox 6">
            <a:extLst>
              <a:ext uri="{FF2B5EF4-FFF2-40B4-BE49-F238E27FC236}">
                <a16:creationId xmlns:a16="http://schemas.microsoft.com/office/drawing/2014/main" id="{8531267A-9C93-476E-9A29-51A1728896BD}"/>
              </a:ext>
            </a:extLst>
          </p:cNvPr>
          <p:cNvSpPr txBox="1"/>
          <p:nvPr/>
        </p:nvSpPr>
        <p:spPr>
          <a:xfrm>
            <a:off x="1010478" y="2436471"/>
            <a:ext cx="4933122" cy="2289858"/>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aximize your current Software Assurance investment by using your existing SQL Server licenses to save up to 30 percent on </a:t>
            </a:r>
            <a:r>
              <a:rPr lang="en-US" sz="2400" dirty="0" err="1">
                <a:gradFill>
                  <a:gsLst>
                    <a:gs pos="2917">
                      <a:schemeClr val="tx1"/>
                    </a:gs>
                    <a:gs pos="30000">
                      <a:schemeClr val="tx1"/>
                    </a:gs>
                  </a:gsLst>
                  <a:lin ang="5400000" scaled="0"/>
                </a:gradFill>
              </a:rPr>
              <a:t>vCore</a:t>
            </a:r>
            <a:r>
              <a:rPr lang="en-US" sz="2400" dirty="0">
                <a:gradFill>
                  <a:gsLst>
                    <a:gs pos="2917">
                      <a:schemeClr val="tx1"/>
                    </a:gs>
                    <a:gs pos="30000">
                      <a:schemeClr val="tx1"/>
                    </a:gs>
                  </a:gsLst>
                  <a:lin ang="5400000" scaled="0"/>
                </a:gradFill>
              </a:rPr>
              <a:t>-based SQL Database options.</a:t>
            </a:r>
          </a:p>
        </p:txBody>
      </p:sp>
    </p:spTree>
    <p:extLst>
      <p:ext uri="{BB962C8B-B14F-4D97-AF65-F5344CB8AC3E}">
        <p14:creationId xmlns:p14="http://schemas.microsoft.com/office/powerpoint/2010/main" val="544458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57596" y="117163"/>
            <a:ext cx="12034404" cy="877163"/>
          </a:xfrm>
        </p:spPr>
        <p:txBody>
          <a:bodyPr/>
          <a:lstStyle/>
          <a:p>
            <a:r>
              <a:rPr lang="en-US" sz="5000" dirty="0"/>
              <a:t>Get more for your virtualized workloads</a:t>
            </a:r>
          </a:p>
        </p:txBody>
      </p:sp>
      <p:sp>
        <p:nvSpPr>
          <p:cNvPr id="2" name="AutoShape 2" descr="Instance subnet &#10;Managed Instance#l &#10;Managedlnstance #2 &#10;Managed Instance#3 &#10;VNET &#10;REPOINTAPP &#10;RESTORE &#10;Front end subnet &#10;Customer app &#10;ClientVM &#10;BACKUPTO AZURE &#10;EXECUTION (AGENT) &#10;storage account &#10;sys PaaS(Everest) &#10;sys is OPTIONAL in this step &#10;Another variantcan be simpleindex &#10;mai ntenance ">
            <a:extLst>
              <a:ext uri="{FF2B5EF4-FFF2-40B4-BE49-F238E27FC236}">
                <a16:creationId xmlns:a16="http://schemas.microsoft.com/office/drawing/2014/main" id="{FA81B6CF-60FF-49E5-9BB2-1DF57D67EC93}"/>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4" descr="Instance subnet &#10;Managed Instance#l &#10;Managedlnstance #2 &#10;Managed Instance#3 &#10;VNET &#10;REPOINTAPP &#10;RESTORE &#10;Front end subnet &#10;Customer app &#10;ClientVM &#10;BACKUPTO AZURE &#10;EXECUTION (AGENT) &#10;storage account &#10;sys PaaS(Everest) &#10;sys is OPTIONAL in this step &#10;Another variantcan be simpleindex &#10;mai ntenance ">
            <a:extLst>
              <a:ext uri="{FF2B5EF4-FFF2-40B4-BE49-F238E27FC236}">
                <a16:creationId xmlns:a16="http://schemas.microsoft.com/office/drawing/2014/main" id="{80E7A1AB-31F3-4BA9-8B29-CECE953A75B9}"/>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TextBox 8">
            <a:extLst>
              <a:ext uri="{FF2B5EF4-FFF2-40B4-BE49-F238E27FC236}">
                <a16:creationId xmlns:a16="http://schemas.microsoft.com/office/drawing/2014/main" id="{10869CCD-3417-44D5-9244-4B2973A48E86}"/>
              </a:ext>
            </a:extLst>
          </p:cNvPr>
          <p:cNvSpPr txBox="1"/>
          <p:nvPr/>
        </p:nvSpPr>
        <p:spPr>
          <a:xfrm>
            <a:off x="575093" y="6082749"/>
            <a:ext cx="4008405"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Source: Azure Hybrid Benefit Savings calculator</a:t>
            </a:r>
          </a:p>
        </p:txBody>
      </p:sp>
      <p:pic>
        <p:nvPicPr>
          <p:cNvPr id="5" name="Picture 4">
            <a:extLst>
              <a:ext uri="{FF2B5EF4-FFF2-40B4-BE49-F238E27FC236}">
                <a16:creationId xmlns:a16="http://schemas.microsoft.com/office/drawing/2014/main" id="{534B5CF3-461C-44B9-AAD9-3331A61F7CA2}"/>
              </a:ext>
            </a:extLst>
          </p:cNvPr>
          <p:cNvPicPr>
            <a:picLocks noChangeAspect="1"/>
          </p:cNvPicPr>
          <p:nvPr/>
        </p:nvPicPr>
        <p:blipFill>
          <a:blip r:embed="rId3"/>
          <a:stretch>
            <a:fillRect/>
          </a:stretch>
        </p:blipFill>
        <p:spPr>
          <a:xfrm>
            <a:off x="7073762" y="1647825"/>
            <a:ext cx="4743450" cy="3867150"/>
          </a:xfrm>
          <a:prstGeom prst="rect">
            <a:avLst/>
          </a:prstGeom>
        </p:spPr>
      </p:pic>
      <p:sp>
        <p:nvSpPr>
          <p:cNvPr id="7" name="TextBox 6">
            <a:extLst>
              <a:ext uri="{FF2B5EF4-FFF2-40B4-BE49-F238E27FC236}">
                <a16:creationId xmlns:a16="http://schemas.microsoft.com/office/drawing/2014/main" id="{2CA7B6AE-212B-4846-B8F6-A26FF3D54DBB}"/>
              </a:ext>
            </a:extLst>
          </p:cNvPr>
          <p:cNvSpPr txBox="1"/>
          <p:nvPr/>
        </p:nvSpPr>
        <p:spPr>
          <a:xfrm>
            <a:off x="1063487" y="2216426"/>
            <a:ext cx="5536096" cy="269920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QL Server EE Customers with SA can move to SQL Database at a cost effective rate</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HUB for SQL Server provides SQL Server EE Customers with 4 cores in cloud for every 1 core on-prem</a:t>
            </a:r>
          </a:p>
        </p:txBody>
      </p:sp>
    </p:spTree>
    <p:extLst>
      <p:ext uri="{BB962C8B-B14F-4D97-AF65-F5344CB8AC3E}">
        <p14:creationId xmlns:p14="http://schemas.microsoft.com/office/powerpoint/2010/main" val="2129401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57596" y="117163"/>
            <a:ext cx="12034404" cy="932563"/>
          </a:xfrm>
        </p:spPr>
        <p:txBody>
          <a:bodyPr/>
          <a:lstStyle/>
          <a:p>
            <a:r>
              <a:rPr lang="en-US" sz="5400" dirty="0"/>
              <a:t>Example	</a:t>
            </a:r>
          </a:p>
        </p:txBody>
      </p:sp>
      <p:sp>
        <p:nvSpPr>
          <p:cNvPr id="2" name="AutoShape 2" descr="Instance subnet &#10;Managed Instance#l &#10;Managedlnstance #2 &#10;Managed Instance#3 &#10;VNET &#10;REPOINTAPP &#10;RESTORE &#10;Front end subnet &#10;Customer app &#10;ClientVM &#10;BACKUPTO AZURE &#10;EXECUTION (AGENT) &#10;storage account &#10;sys PaaS(Everest) &#10;sys is OPTIONAL in this step &#10;Another variantcan be simpleindex &#10;mai ntenance ">
            <a:extLst>
              <a:ext uri="{FF2B5EF4-FFF2-40B4-BE49-F238E27FC236}">
                <a16:creationId xmlns:a16="http://schemas.microsoft.com/office/drawing/2014/main" id="{FA81B6CF-60FF-49E5-9BB2-1DF57D67EC93}"/>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4" descr="Instance subnet &#10;Managed Instance#l &#10;Managedlnstance #2 &#10;Managed Instance#3 &#10;VNET &#10;REPOINTAPP &#10;RESTORE &#10;Front end subnet &#10;Customer app &#10;ClientVM &#10;BACKUPTO AZURE &#10;EXECUTION (AGENT) &#10;storage account &#10;sys PaaS(Everest) &#10;sys is OPTIONAL in this step &#10;Another variantcan be simpleindex &#10;mai ntenance ">
            <a:extLst>
              <a:ext uri="{FF2B5EF4-FFF2-40B4-BE49-F238E27FC236}">
                <a16:creationId xmlns:a16="http://schemas.microsoft.com/office/drawing/2014/main" id="{80E7A1AB-31F3-4BA9-8B29-CECE953A75B9}"/>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6" name="Table 5">
            <a:extLst>
              <a:ext uri="{FF2B5EF4-FFF2-40B4-BE49-F238E27FC236}">
                <a16:creationId xmlns:a16="http://schemas.microsoft.com/office/drawing/2014/main" id="{C3F7D96E-8A82-4B3D-B6B2-94F7B78DDF5B}"/>
              </a:ext>
            </a:extLst>
          </p:cNvPr>
          <p:cNvGraphicFramePr>
            <a:graphicFrameLocks noGrp="1"/>
          </p:cNvGraphicFramePr>
          <p:nvPr>
            <p:extLst>
              <p:ext uri="{D42A27DB-BD31-4B8C-83A1-F6EECF244321}">
                <p14:modId xmlns:p14="http://schemas.microsoft.com/office/powerpoint/2010/main" val="1645748198"/>
              </p:ext>
            </p:extLst>
          </p:nvPr>
        </p:nvGraphicFramePr>
        <p:xfrm>
          <a:off x="759792" y="1684018"/>
          <a:ext cx="6605104" cy="3325302"/>
        </p:xfrm>
        <a:graphic>
          <a:graphicData uri="http://schemas.openxmlformats.org/drawingml/2006/table">
            <a:tbl>
              <a:tblPr firstRow="1" bandRow="1">
                <a:tableStyleId>{5C22544A-7EE6-4342-B048-85BDC9FD1C3A}</a:tableStyleId>
              </a:tblPr>
              <a:tblGrid>
                <a:gridCol w="3302552">
                  <a:extLst>
                    <a:ext uri="{9D8B030D-6E8A-4147-A177-3AD203B41FA5}">
                      <a16:colId xmlns:a16="http://schemas.microsoft.com/office/drawing/2014/main" val="1099083340"/>
                    </a:ext>
                  </a:extLst>
                </a:gridCol>
                <a:gridCol w="3302552">
                  <a:extLst>
                    <a:ext uri="{9D8B030D-6E8A-4147-A177-3AD203B41FA5}">
                      <a16:colId xmlns:a16="http://schemas.microsoft.com/office/drawing/2014/main" val="702053979"/>
                    </a:ext>
                  </a:extLst>
                </a:gridCol>
              </a:tblGrid>
              <a:tr h="1108434">
                <a:tc>
                  <a:txBody>
                    <a:bodyPr/>
                    <a:lstStyle/>
                    <a:p>
                      <a:r>
                        <a:rPr lang="en-US" dirty="0"/>
                        <a:t>On-prem Core Licenses</a:t>
                      </a:r>
                    </a:p>
                  </a:txBody>
                  <a:tcPr/>
                </a:tc>
                <a:tc>
                  <a:txBody>
                    <a:bodyPr/>
                    <a:lstStyle/>
                    <a:p>
                      <a:r>
                        <a:rPr lang="en-US" dirty="0"/>
                        <a:t>Instances in Azure</a:t>
                      </a:r>
                    </a:p>
                  </a:txBody>
                  <a:tcPr/>
                </a:tc>
                <a:extLst>
                  <a:ext uri="{0D108BD9-81ED-4DB2-BD59-A6C34878D82A}">
                    <a16:rowId xmlns:a16="http://schemas.microsoft.com/office/drawing/2014/main" val="1922294783"/>
                  </a:ext>
                </a:extLst>
              </a:tr>
              <a:tr h="1108434">
                <a:tc>
                  <a:txBody>
                    <a:bodyPr/>
                    <a:lstStyle/>
                    <a:p>
                      <a:r>
                        <a:rPr lang="en-US" dirty="0"/>
                        <a:t>1 Standard Edition</a:t>
                      </a:r>
                    </a:p>
                  </a:txBody>
                  <a:tcPr/>
                </a:tc>
                <a:tc>
                  <a:txBody>
                    <a:bodyPr/>
                    <a:lstStyle/>
                    <a:p>
                      <a:r>
                        <a:rPr lang="en-US" dirty="0"/>
                        <a:t>1 General purpose Instance</a:t>
                      </a:r>
                    </a:p>
                  </a:txBody>
                  <a:tcPr/>
                </a:tc>
                <a:extLst>
                  <a:ext uri="{0D108BD9-81ED-4DB2-BD59-A6C34878D82A}">
                    <a16:rowId xmlns:a16="http://schemas.microsoft.com/office/drawing/2014/main" val="728871150"/>
                  </a:ext>
                </a:extLst>
              </a:tr>
              <a:tr h="1108434">
                <a:tc>
                  <a:txBody>
                    <a:bodyPr/>
                    <a:lstStyle/>
                    <a:p>
                      <a:r>
                        <a:rPr lang="en-US" dirty="0"/>
                        <a:t>1 Enterprise Edition</a:t>
                      </a:r>
                    </a:p>
                  </a:txBody>
                  <a:tcPr/>
                </a:tc>
                <a:tc>
                  <a:txBody>
                    <a:bodyPr/>
                    <a:lstStyle/>
                    <a:p>
                      <a:r>
                        <a:rPr lang="en-US" dirty="0"/>
                        <a:t>4 General Purpose Instances</a:t>
                      </a:r>
                    </a:p>
                  </a:txBody>
                  <a:tcPr/>
                </a:tc>
                <a:extLst>
                  <a:ext uri="{0D108BD9-81ED-4DB2-BD59-A6C34878D82A}">
                    <a16:rowId xmlns:a16="http://schemas.microsoft.com/office/drawing/2014/main" val="1406823387"/>
                  </a:ext>
                </a:extLst>
              </a:tr>
            </a:tbl>
          </a:graphicData>
        </a:graphic>
      </p:graphicFrame>
      <p:sp>
        <p:nvSpPr>
          <p:cNvPr id="8" name="TextBox 7">
            <a:extLst>
              <a:ext uri="{FF2B5EF4-FFF2-40B4-BE49-F238E27FC236}">
                <a16:creationId xmlns:a16="http://schemas.microsoft.com/office/drawing/2014/main" id="{2DCEA1ED-5460-42DB-A9B0-C84DA7D8A6CA}"/>
              </a:ext>
            </a:extLst>
          </p:cNvPr>
          <p:cNvSpPr txBox="1"/>
          <p:nvPr/>
        </p:nvSpPr>
        <p:spPr>
          <a:xfrm>
            <a:off x="7861853" y="1818861"/>
            <a:ext cx="3021495" cy="1957459"/>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pproximate savings of 33.6% across eligible instances per month.</a:t>
            </a:r>
          </a:p>
        </p:txBody>
      </p:sp>
      <p:sp>
        <p:nvSpPr>
          <p:cNvPr id="9" name="TextBox 8">
            <a:extLst>
              <a:ext uri="{FF2B5EF4-FFF2-40B4-BE49-F238E27FC236}">
                <a16:creationId xmlns:a16="http://schemas.microsoft.com/office/drawing/2014/main" id="{10869CCD-3417-44D5-9244-4B2973A48E86}"/>
              </a:ext>
            </a:extLst>
          </p:cNvPr>
          <p:cNvSpPr txBox="1"/>
          <p:nvPr/>
        </p:nvSpPr>
        <p:spPr>
          <a:xfrm>
            <a:off x="575093" y="6082749"/>
            <a:ext cx="4008405"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Source: Azure Hybrid Benefit Savings calculator</a:t>
            </a:r>
          </a:p>
        </p:txBody>
      </p:sp>
    </p:spTree>
    <p:extLst>
      <p:ext uri="{BB962C8B-B14F-4D97-AF65-F5344CB8AC3E}">
        <p14:creationId xmlns:p14="http://schemas.microsoft.com/office/powerpoint/2010/main" val="486263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05D62295-A690-4272-B549-DE107AD2F279}"/>
              </a:ext>
            </a:extLst>
          </p:cNvPr>
          <p:cNvSpPr/>
          <p:nvPr/>
        </p:nvSpPr>
        <p:spPr bwMode="auto">
          <a:xfrm>
            <a:off x="1" y="-433"/>
            <a:ext cx="12216773" cy="1038968"/>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rgbClr val="000000"/>
              </a:solidFill>
              <a:latin typeface="Segoe UI"/>
            </a:endParaRPr>
          </a:p>
        </p:txBody>
      </p:sp>
      <p:sp>
        <p:nvSpPr>
          <p:cNvPr id="4" name="Rectangle 3">
            <a:extLst>
              <a:ext uri="{FF2B5EF4-FFF2-40B4-BE49-F238E27FC236}">
                <a16:creationId xmlns:a16="http://schemas.microsoft.com/office/drawing/2014/main" id="{0EAF52E6-511B-4119-9E59-CE544F79C18E}"/>
              </a:ext>
            </a:extLst>
          </p:cNvPr>
          <p:cNvSpPr/>
          <p:nvPr/>
        </p:nvSpPr>
        <p:spPr>
          <a:xfrm>
            <a:off x="6260977" y="2291527"/>
            <a:ext cx="2895717" cy="3747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algn="ctr" defTabSz="914225"/>
            <a:r>
              <a:rPr lang="en-US" b="1" dirty="0">
                <a:solidFill>
                  <a:srgbClr val="FFFFFF"/>
                </a:solidFill>
                <a:latin typeface="Segoe UI Semibold" panose="020B0702040204020203" pitchFamily="34" charset="0"/>
                <a:cs typeface="Segoe UI Semibold" panose="020B0702040204020203" pitchFamily="34" charset="0"/>
              </a:rPr>
              <a:t>Seamless and compatible</a:t>
            </a:r>
          </a:p>
        </p:txBody>
      </p:sp>
      <p:sp>
        <p:nvSpPr>
          <p:cNvPr id="5" name="Rectangle 4">
            <a:extLst>
              <a:ext uri="{FF2B5EF4-FFF2-40B4-BE49-F238E27FC236}">
                <a16:creationId xmlns:a16="http://schemas.microsoft.com/office/drawing/2014/main" id="{7C0408DC-D536-4BE3-9D6D-1E9FDC215FD8}"/>
              </a:ext>
            </a:extLst>
          </p:cNvPr>
          <p:cNvSpPr/>
          <p:nvPr/>
        </p:nvSpPr>
        <p:spPr>
          <a:xfrm>
            <a:off x="415259" y="2291527"/>
            <a:ext cx="2688145" cy="367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algn="ctr" defTabSz="914225"/>
            <a:r>
              <a:rPr lang="en-US" b="1" dirty="0">
                <a:solidFill>
                  <a:srgbClr val="FFFFFF"/>
                </a:solidFill>
                <a:latin typeface="Segoe UI Semibold" panose="020B0702040204020203" pitchFamily="34" charset="0"/>
                <a:cs typeface="Segoe UI Semibold" panose="020B0702040204020203" pitchFamily="34" charset="0"/>
              </a:rPr>
              <a:t>Intelligent DBaaS</a:t>
            </a:r>
          </a:p>
        </p:txBody>
      </p:sp>
      <p:sp>
        <p:nvSpPr>
          <p:cNvPr id="6" name="Rectangle 5">
            <a:extLst>
              <a:ext uri="{FF2B5EF4-FFF2-40B4-BE49-F238E27FC236}">
                <a16:creationId xmlns:a16="http://schemas.microsoft.com/office/drawing/2014/main" id="{055C2F0F-2349-4C29-B4BD-5DFB150873A9}"/>
              </a:ext>
            </a:extLst>
          </p:cNvPr>
          <p:cNvSpPr/>
          <p:nvPr/>
        </p:nvSpPr>
        <p:spPr>
          <a:xfrm>
            <a:off x="9355102" y="2291527"/>
            <a:ext cx="2308745" cy="3747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algn="ctr" defTabSz="914225"/>
            <a:r>
              <a:rPr lang="en-US" b="1" dirty="0">
                <a:solidFill>
                  <a:srgbClr val="FFFFFF"/>
                </a:solidFill>
                <a:latin typeface="Segoe UI Semibold" panose="020B0702040204020203" pitchFamily="34" charset="0"/>
                <a:cs typeface="Segoe UI Semibold" panose="020B0702040204020203" pitchFamily="34" charset="0"/>
              </a:rPr>
              <a:t>Competitive TCO</a:t>
            </a:r>
          </a:p>
        </p:txBody>
      </p:sp>
      <p:grpSp>
        <p:nvGrpSpPr>
          <p:cNvPr id="42" name="Group 41">
            <a:extLst>
              <a:ext uri="{FF2B5EF4-FFF2-40B4-BE49-F238E27FC236}">
                <a16:creationId xmlns:a16="http://schemas.microsoft.com/office/drawing/2014/main" id="{089551D5-916D-421F-A97F-AEC5C7E8351A}"/>
              </a:ext>
            </a:extLst>
          </p:cNvPr>
          <p:cNvGrpSpPr/>
          <p:nvPr/>
        </p:nvGrpSpPr>
        <p:grpSpPr>
          <a:xfrm>
            <a:off x="4075649" y="3233804"/>
            <a:ext cx="1065015" cy="1065015"/>
            <a:chOff x="4157799" y="3257006"/>
            <a:chExt cx="1065166" cy="1065166"/>
          </a:xfrm>
        </p:grpSpPr>
        <p:sp>
          <p:nvSpPr>
            <p:cNvPr id="33" name="Freeform: Shape 32">
              <a:extLst>
                <a:ext uri="{FF2B5EF4-FFF2-40B4-BE49-F238E27FC236}">
                  <a16:creationId xmlns:a16="http://schemas.microsoft.com/office/drawing/2014/main" id="{84CAA8C5-59E5-476C-B8E8-5B4255597191}"/>
                </a:ext>
              </a:extLst>
            </p:cNvPr>
            <p:cNvSpPr/>
            <p:nvPr/>
          </p:nvSpPr>
          <p:spPr bwMode="auto">
            <a:xfrm>
              <a:off x="4157799" y="3257006"/>
              <a:ext cx="1065166" cy="1065166"/>
            </a:xfrm>
            <a:custGeom>
              <a:avLst/>
              <a:gdLst>
                <a:gd name="connsiteX0" fmla="*/ 0 w 1532164"/>
                <a:gd name="connsiteY0" fmla="*/ 0 h 1532164"/>
                <a:gd name="connsiteX1" fmla="*/ 1532164 w 1532164"/>
                <a:gd name="connsiteY1" fmla="*/ 0 h 1532164"/>
                <a:gd name="connsiteX2" fmla="*/ 1532164 w 1532164"/>
                <a:gd name="connsiteY2" fmla="*/ 1532164 h 1532164"/>
                <a:gd name="connsiteX3" fmla="*/ 578647 w 1532164"/>
                <a:gd name="connsiteY3" fmla="*/ 1532164 h 1532164"/>
                <a:gd name="connsiteX4" fmla="*/ 578647 w 1532164"/>
                <a:gd name="connsiteY4" fmla="*/ 963624 h 1532164"/>
                <a:gd name="connsiteX5" fmla="*/ 0 w 1532164"/>
                <a:gd name="connsiteY5" fmla="*/ 963624 h 1532164"/>
                <a:gd name="connsiteX6" fmla="*/ 0 w 1532164"/>
                <a:gd name="connsiteY6" fmla="*/ 0 h 1532164"/>
                <a:gd name="connsiteX0" fmla="*/ 578647 w 1532164"/>
                <a:gd name="connsiteY0" fmla="*/ 963624 h 1532164"/>
                <a:gd name="connsiteX1" fmla="*/ 0 w 1532164"/>
                <a:gd name="connsiteY1" fmla="*/ 963624 h 1532164"/>
                <a:gd name="connsiteX2" fmla="*/ 0 w 1532164"/>
                <a:gd name="connsiteY2" fmla="*/ 0 h 1532164"/>
                <a:gd name="connsiteX3" fmla="*/ 1532164 w 1532164"/>
                <a:gd name="connsiteY3" fmla="*/ 0 h 1532164"/>
                <a:gd name="connsiteX4" fmla="*/ 1532164 w 1532164"/>
                <a:gd name="connsiteY4" fmla="*/ 1532164 h 1532164"/>
                <a:gd name="connsiteX5" fmla="*/ 578647 w 1532164"/>
                <a:gd name="connsiteY5" fmla="*/ 1532164 h 1532164"/>
                <a:gd name="connsiteX6" fmla="*/ 670087 w 1532164"/>
                <a:gd name="connsiteY6" fmla="*/ 1055064 h 1532164"/>
                <a:gd name="connsiteX0" fmla="*/ 578647 w 1532164"/>
                <a:gd name="connsiteY0" fmla="*/ 963624 h 1532164"/>
                <a:gd name="connsiteX1" fmla="*/ 0 w 1532164"/>
                <a:gd name="connsiteY1" fmla="*/ 963624 h 1532164"/>
                <a:gd name="connsiteX2" fmla="*/ 0 w 1532164"/>
                <a:gd name="connsiteY2" fmla="*/ 0 h 1532164"/>
                <a:gd name="connsiteX3" fmla="*/ 1532164 w 1532164"/>
                <a:gd name="connsiteY3" fmla="*/ 0 h 1532164"/>
                <a:gd name="connsiteX4" fmla="*/ 1532164 w 1532164"/>
                <a:gd name="connsiteY4" fmla="*/ 1532164 h 1532164"/>
                <a:gd name="connsiteX5" fmla="*/ 578647 w 1532164"/>
                <a:gd name="connsiteY5" fmla="*/ 1532164 h 1532164"/>
                <a:gd name="connsiteX0" fmla="*/ 0 w 1532164"/>
                <a:gd name="connsiteY0" fmla="*/ 963624 h 1532164"/>
                <a:gd name="connsiteX1" fmla="*/ 0 w 1532164"/>
                <a:gd name="connsiteY1" fmla="*/ 0 h 1532164"/>
                <a:gd name="connsiteX2" fmla="*/ 1532164 w 1532164"/>
                <a:gd name="connsiteY2" fmla="*/ 0 h 1532164"/>
                <a:gd name="connsiteX3" fmla="*/ 1532164 w 1532164"/>
                <a:gd name="connsiteY3" fmla="*/ 1532164 h 1532164"/>
                <a:gd name="connsiteX4" fmla="*/ 578647 w 1532164"/>
                <a:gd name="connsiteY4" fmla="*/ 1532164 h 1532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164" h="1532164">
                  <a:moveTo>
                    <a:pt x="0" y="963624"/>
                  </a:moveTo>
                  <a:lnTo>
                    <a:pt x="0" y="0"/>
                  </a:lnTo>
                  <a:lnTo>
                    <a:pt x="1532164" y="0"/>
                  </a:lnTo>
                  <a:lnTo>
                    <a:pt x="1532164" y="1532164"/>
                  </a:lnTo>
                  <a:lnTo>
                    <a:pt x="578647" y="1532164"/>
                  </a:lnTo>
                </a:path>
              </a:pathLst>
            </a:custGeom>
            <a:noFill/>
            <a:ln w="15875">
              <a:solidFill>
                <a:schemeClr val="bg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grpSp>
          <p:nvGrpSpPr>
            <p:cNvPr id="40" name="Group 39">
              <a:extLst>
                <a:ext uri="{FF2B5EF4-FFF2-40B4-BE49-F238E27FC236}">
                  <a16:creationId xmlns:a16="http://schemas.microsoft.com/office/drawing/2014/main" id="{49436C3A-AB93-4A51-B155-A455E4D669FC}"/>
                </a:ext>
              </a:extLst>
            </p:cNvPr>
            <p:cNvGrpSpPr/>
            <p:nvPr/>
          </p:nvGrpSpPr>
          <p:grpSpPr>
            <a:xfrm>
              <a:off x="4190341" y="3461656"/>
              <a:ext cx="836696" cy="828301"/>
              <a:chOff x="3924301" y="3326121"/>
              <a:chExt cx="1242014" cy="1229549"/>
            </a:xfrm>
          </p:grpSpPr>
          <p:sp>
            <p:nvSpPr>
              <p:cNvPr id="35" name="Freeform: Shape 34">
                <a:extLst>
                  <a:ext uri="{FF2B5EF4-FFF2-40B4-BE49-F238E27FC236}">
                    <a16:creationId xmlns:a16="http://schemas.microsoft.com/office/drawing/2014/main" id="{BA9851F2-273C-416D-811A-153E2E18BDFA}"/>
                  </a:ext>
                </a:extLst>
              </p:cNvPr>
              <p:cNvSpPr/>
              <p:nvPr/>
            </p:nvSpPr>
            <p:spPr bwMode="auto">
              <a:xfrm rot="10800000">
                <a:off x="4756384" y="3326121"/>
                <a:ext cx="409931" cy="402771"/>
              </a:xfrm>
              <a:custGeom>
                <a:avLst/>
                <a:gdLst>
                  <a:gd name="connsiteX0" fmla="*/ 0 w 578647"/>
                  <a:gd name="connsiteY0" fmla="*/ 0 h 568540"/>
                  <a:gd name="connsiteX1" fmla="*/ 578647 w 578647"/>
                  <a:gd name="connsiteY1" fmla="*/ 0 h 568540"/>
                  <a:gd name="connsiteX2" fmla="*/ 578647 w 578647"/>
                  <a:gd name="connsiteY2" fmla="*/ 568540 h 568540"/>
                  <a:gd name="connsiteX3" fmla="*/ 0 w 578647"/>
                  <a:gd name="connsiteY3" fmla="*/ 568540 h 568540"/>
                  <a:gd name="connsiteX4" fmla="*/ 0 w 578647"/>
                  <a:gd name="connsiteY4" fmla="*/ 0 h 568540"/>
                  <a:gd name="connsiteX0" fmla="*/ 578647 w 670087"/>
                  <a:gd name="connsiteY0" fmla="*/ 0 h 568540"/>
                  <a:gd name="connsiteX1" fmla="*/ 578647 w 670087"/>
                  <a:gd name="connsiteY1" fmla="*/ 568540 h 568540"/>
                  <a:gd name="connsiteX2" fmla="*/ 0 w 670087"/>
                  <a:gd name="connsiteY2" fmla="*/ 568540 h 568540"/>
                  <a:gd name="connsiteX3" fmla="*/ 0 w 670087"/>
                  <a:gd name="connsiteY3" fmla="*/ 0 h 568540"/>
                  <a:gd name="connsiteX4" fmla="*/ 670087 w 670087"/>
                  <a:gd name="connsiteY4" fmla="*/ 91440 h 568540"/>
                  <a:gd name="connsiteX0" fmla="*/ 578647 w 578647"/>
                  <a:gd name="connsiteY0" fmla="*/ 0 h 568540"/>
                  <a:gd name="connsiteX1" fmla="*/ 578647 w 578647"/>
                  <a:gd name="connsiteY1" fmla="*/ 568540 h 568540"/>
                  <a:gd name="connsiteX2" fmla="*/ 0 w 578647"/>
                  <a:gd name="connsiteY2" fmla="*/ 568540 h 568540"/>
                  <a:gd name="connsiteX3" fmla="*/ 0 w 578647"/>
                  <a:gd name="connsiteY3" fmla="*/ 0 h 568540"/>
                  <a:gd name="connsiteX0" fmla="*/ 578647 w 578647"/>
                  <a:gd name="connsiteY0" fmla="*/ 568540 h 568540"/>
                  <a:gd name="connsiteX1" fmla="*/ 0 w 578647"/>
                  <a:gd name="connsiteY1" fmla="*/ 568540 h 568540"/>
                  <a:gd name="connsiteX2" fmla="*/ 0 w 578647"/>
                  <a:gd name="connsiteY2" fmla="*/ 0 h 568540"/>
                </a:gdLst>
                <a:ahLst/>
                <a:cxnLst>
                  <a:cxn ang="0">
                    <a:pos x="connsiteX0" y="connsiteY0"/>
                  </a:cxn>
                  <a:cxn ang="0">
                    <a:pos x="connsiteX1" y="connsiteY1"/>
                  </a:cxn>
                  <a:cxn ang="0">
                    <a:pos x="connsiteX2" y="connsiteY2"/>
                  </a:cxn>
                </a:cxnLst>
                <a:rect l="l" t="t" r="r" b="b"/>
                <a:pathLst>
                  <a:path w="578647" h="568540">
                    <a:moveTo>
                      <a:pt x="578647" y="568540"/>
                    </a:moveTo>
                    <a:lnTo>
                      <a:pt x="0" y="568540"/>
                    </a:lnTo>
                    <a:lnTo>
                      <a:pt x="0" y="0"/>
                    </a:lnTo>
                  </a:path>
                </a:pathLst>
              </a:custGeom>
              <a:noFill/>
              <a:ln w="15875">
                <a:solidFill>
                  <a:schemeClr val="bg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cxnSp>
            <p:nvCxnSpPr>
              <p:cNvPr id="37" name="Straight Connector 36">
                <a:extLst>
                  <a:ext uri="{FF2B5EF4-FFF2-40B4-BE49-F238E27FC236}">
                    <a16:creationId xmlns:a16="http://schemas.microsoft.com/office/drawing/2014/main" id="{AF2B4123-B743-4587-A5B2-9D4426F68FD9}"/>
                  </a:ext>
                </a:extLst>
              </p:cNvPr>
              <p:cNvCxnSpPr>
                <a:cxnSpLocks/>
                <a:endCxn id="35" idx="1"/>
              </p:cNvCxnSpPr>
              <p:nvPr/>
            </p:nvCxnSpPr>
            <p:spPr>
              <a:xfrm flipV="1">
                <a:off x="3924301" y="3326121"/>
                <a:ext cx="1242014" cy="1229549"/>
              </a:xfrm>
              <a:prstGeom prst="line">
                <a:avLst/>
              </a:prstGeom>
              <a:ln w="15875">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1" name="Group 50">
            <a:extLst>
              <a:ext uri="{FF2B5EF4-FFF2-40B4-BE49-F238E27FC236}">
                <a16:creationId xmlns:a16="http://schemas.microsoft.com/office/drawing/2014/main" id="{6F5BD5E6-3A70-4FE9-B4D1-BD73CBF83C38}"/>
              </a:ext>
            </a:extLst>
          </p:cNvPr>
          <p:cNvGrpSpPr/>
          <p:nvPr/>
        </p:nvGrpSpPr>
        <p:grpSpPr>
          <a:xfrm>
            <a:off x="7191811" y="3261598"/>
            <a:ext cx="896459" cy="1111819"/>
            <a:chOff x="-89366" y="1982903"/>
            <a:chExt cx="986802" cy="1223863"/>
          </a:xfrm>
        </p:grpSpPr>
        <p:sp>
          <p:nvSpPr>
            <p:cNvPr id="52" name="Freeform 5">
              <a:extLst>
                <a:ext uri="{FF2B5EF4-FFF2-40B4-BE49-F238E27FC236}">
                  <a16:creationId xmlns:a16="http://schemas.microsoft.com/office/drawing/2014/main" id="{D4DEBF64-732A-4D24-98F1-04F4234701C4}"/>
                </a:ext>
              </a:extLst>
            </p:cNvPr>
            <p:cNvSpPr>
              <a:spLocks/>
            </p:cNvSpPr>
            <p:nvPr/>
          </p:nvSpPr>
          <p:spPr bwMode="auto">
            <a:xfrm>
              <a:off x="-89366" y="2107542"/>
              <a:ext cx="555856" cy="565226"/>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53" name="Freeform 6">
              <a:extLst>
                <a:ext uri="{FF2B5EF4-FFF2-40B4-BE49-F238E27FC236}">
                  <a16:creationId xmlns:a16="http://schemas.microsoft.com/office/drawing/2014/main" id="{943A573A-93B8-4871-881A-8A911EB0C20A}"/>
                </a:ext>
              </a:extLst>
            </p:cNvPr>
            <p:cNvSpPr>
              <a:spLocks/>
            </p:cNvSpPr>
            <p:nvPr/>
          </p:nvSpPr>
          <p:spPr bwMode="auto">
            <a:xfrm>
              <a:off x="266632" y="2538488"/>
              <a:ext cx="630804" cy="552734"/>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54" name="Freeform 7">
              <a:extLst>
                <a:ext uri="{FF2B5EF4-FFF2-40B4-BE49-F238E27FC236}">
                  <a16:creationId xmlns:a16="http://schemas.microsoft.com/office/drawing/2014/main" id="{54394F99-B558-4241-93A8-A874956D2B6D}"/>
                </a:ext>
              </a:extLst>
            </p:cNvPr>
            <p:cNvSpPr>
              <a:spLocks/>
            </p:cNvSpPr>
            <p:nvPr/>
          </p:nvSpPr>
          <p:spPr bwMode="auto">
            <a:xfrm>
              <a:off x="263510" y="2988171"/>
              <a:ext cx="140525" cy="218595"/>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55" name="Freeform 8">
              <a:extLst>
                <a:ext uri="{FF2B5EF4-FFF2-40B4-BE49-F238E27FC236}">
                  <a16:creationId xmlns:a16="http://schemas.microsoft.com/office/drawing/2014/main" id="{35DDDE5F-6124-4C1E-9DB6-34C61B6722C4}"/>
                </a:ext>
              </a:extLst>
            </p:cNvPr>
            <p:cNvSpPr>
              <a:spLocks/>
            </p:cNvSpPr>
            <p:nvPr/>
          </p:nvSpPr>
          <p:spPr bwMode="auto">
            <a:xfrm rot="20858347">
              <a:off x="333774" y="1982903"/>
              <a:ext cx="140525" cy="221719"/>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0000"/>
                </a:solidFill>
                <a:latin typeface="Segoe UI"/>
              </a:endParaRPr>
            </a:p>
          </p:txBody>
        </p:sp>
        <p:sp>
          <p:nvSpPr>
            <p:cNvPr id="56" name="Oval 10">
              <a:extLst>
                <a:ext uri="{FF2B5EF4-FFF2-40B4-BE49-F238E27FC236}">
                  <a16:creationId xmlns:a16="http://schemas.microsoft.com/office/drawing/2014/main" id="{19EA1391-8C47-49A4-A579-2A096BFFC780}"/>
                </a:ext>
              </a:extLst>
            </p:cNvPr>
            <p:cNvSpPr>
              <a:spLocks noChangeArrowheads="1"/>
            </p:cNvSpPr>
            <p:nvPr/>
          </p:nvSpPr>
          <p:spPr bwMode="auto">
            <a:xfrm>
              <a:off x="-72112" y="2783587"/>
              <a:ext cx="235676" cy="233113"/>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57" name="Rectangle 56">
              <a:extLst>
                <a:ext uri="{FF2B5EF4-FFF2-40B4-BE49-F238E27FC236}">
                  <a16:creationId xmlns:a16="http://schemas.microsoft.com/office/drawing/2014/main" id="{567DCCC5-AB4E-496C-AF42-29316C2B62A4}"/>
                </a:ext>
              </a:extLst>
            </p:cNvPr>
            <p:cNvSpPr/>
            <p:nvPr/>
          </p:nvSpPr>
          <p:spPr bwMode="auto">
            <a:xfrm>
              <a:off x="609219" y="2200614"/>
              <a:ext cx="202980" cy="202980"/>
            </a:xfrm>
            <a:prstGeom prst="rect">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err="1">
                <a:solidFill>
                  <a:srgbClr val="000000"/>
                </a:solidFill>
                <a:latin typeface="Segoe UI"/>
              </a:endParaRPr>
            </a:p>
          </p:txBody>
        </p:sp>
      </p:grpSp>
      <p:cxnSp>
        <p:nvCxnSpPr>
          <p:cNvPr id="13" name="Straight Connector 12">
            <a:extLst>
              <a:ext uri="{FF2B5EF4-FFF2-40B4-BE49-F238E27FC236}">
                <a16:creationId xmlns:a16="http://schemas.microsoft.com/office/drawing/2014/main" id="{4E178D5C-E22C-44DE-9B22-15F5B128E604}"/>
              </a:ext>
            </a:extLst>
          </p:cNvPr>
          <p:cNvCxnSpPr/>
          <p:nvPr/>
        </p:nvCxnSpPr>
        <p:spPr>
          <a:xfrm>
            <a:off x="9156694" y="2291527"/>
            <a:ext cx="0" cy="2742811"/>
          </a:xfrm>
          <a:prstGeom prst="line">
            <a:avLst/>
          </a:prstGeom>
          <a:ln w="9525">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1F6DF13-F59F-4570-8997-DBE6233D68A8}"/>
              </a:ext>
            </a:extLst>
          </p:cNvPr>
          <p:cNvCxnSpPr/>
          <p:nvPr/>
        </p:nvCxnSpPr>
        <p:spPr>
          <a:xfrm>
            <a:off x="3089251" y="2291527"/>
            <a:ext cx="0" cy="2742811"/>
          </a:xfrm>
          <a:prstGeom prst="line">
            <a:avLst/>
          </a:prstGeom>
          <a:ln w="9525">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6" name="Title 1">
            <a:extLst>
              <a:ext uri="{FF2B5EF4-FFF2-40B4-BE49-F238E27FC236}">
                <a16:creationId xmlns:a16="http://schemas.microsoft.com/office/drawing/2014/main" id="{5F2E4DD6-49FE-442F-B3C3-1CE67E59DFEA}"/>
              </a:ext>
            </a:extLst>
          </p:cNvPr>
          <p:cNvSpPr>
            <a:spLocks noGrp="1"/>
          </p:cNvSpPr>
          <p:nvPr>
            <p:ph type="title"/>
          </p:nvPr>
        </p:nvSpPr>
        <p:spPr>
          <a:xfrm>
            <a:off x="194537" y="51010"/>
            <a:ext cx="11654187" cy="899537"/>
          </a:xfrm>
        </p:spPr>
        <p:txBody>
          <a:bodyPr/>
          <a:lstStyle/>
          <a:p>
            <a:pPr algn="ctr">
              <a:spcBef>
                <a:spcPts val="0"/>
              </a:spcBef>
            </a:pPr>
            <a:r>
              <a:rPr lang="en-US" sz="3137" cap="all" spc="500" dirty="0">
                <a:solidFill>
                  <a:schemeClr val="tx2"/>
                </a:solidFill>
                <a:latin typeface="Segoe UI Semilight" charset="0"/>
                <a:cs typeface="Segoe UI Semilight" charset="0"/>
              </a:rPr>
              <a:t>Azure SQL Database</a:t>
            </a:r>
            <a:br>
              <a:rPr lang="en-US" sz="3600" cap="all" dirty="0">
                <a:solidFill>
                  <a:schemeClr val="tx2"/>
                </a:solidFill>
                <a:latin typeface="Segoe UI Semibold" panose="020B0702040204020203" pitchFamily="34" charset="0"/>
                <a:cs typeface="Segoe UI Semibold" panose="020B0702040204020203" pitchFamily="34" charset="0"/>
              </a:rPr>
            </a:br>
            <a:r>
              <a:rPr lang="en-US" sz="2353" kern="0" spc="100" dirty="0">
                <a:ln>
                  <a:noFill/>
                </a:ln>
                <a:solidFill>
                  <a:schemeClr val="tx2"/>
                </a:solidFill>
                <a:latin typeface="Segoe UI Semibold" charset="0"/>
                <a:cs typeface="Segoe UI Semibold" charset="0"/>
              </a:rPr>
              <a:t>Put your database on Autopilot; focus on your business</a:t>
            </a:r>
            <a:br>
              <a:rPr lang="en-US" sz="3137" cap="all" dirty="0">
                <a:solidFill>
                  <a:schemeClr val="tx2"/>
                </a:solidFill>
              </a:rPr>
            </a:br>
            <a:br>
              <a:rPr lang="en-US" sz="3921" cap="small" dirty="0">
                <a:solidFill>
                  <a:schemeClr val="tx2"/>
                </a:solidFill>
              </a:rPr>
            </a:br>
            <a:endParaRPr lang="en-US" sz="3600" b="1" cap="small" dirty="0">
              <a:solidFill>
                <a:schemeClr val="tx2"/>
              </a:solidFill>
              <a:latin typeface="Segoe UI Semibold" panose="020B0702040204020203" pitchFamily="34" charset="0"/>
              <a:cs typeface="Segoe UI Semibold" panose="020B0702040204020203" pitchFamily="34" charset="0"/>
            </a:endParaRPr>
          </a:p>
        </p:txBody>
      </p:sp>
      <p:grpSp>
        <p:nvGrpSpPr>
          <p:cNvPr id="36" name="Group 35">
            <a:extLst>
              <a:ext uri="{FF2B5EF4-FFF2-40B4-BE49-F238E27FC236}">
                <a16:creationId xmlns:a16="http://schemas.microsoft.com/office/drawing/2014/main" id="{FE176CE3-0A9D-45D1-B842-C0D872BF70B6}"/>
              </a:ext>
            </a:extLst>
          </p:cNvPr>
          <p:cNvGrpSpPr/>
          <p:nvPr/>
        </p:nvGrpSpPr>
        <p:grpSpPr>
          <a:xfrm>
            <a:off x="1130099" y="3251804"/>
            <a:ext cx="1273612" cy="1084969"/>
            <a:chOff x="3097731" y="3411002"/>
            <a:chExt cx="3912131" cy="3332680"/>
          </a:xfrm>
        </p:grpSpPr>
        <p:sp>
          <p:nvSpPr>
            <p:cNvPr id="38" name="Freeform: Shape 399">
              <a:extLst>
                <a:ext uri="{FF2B5EF4-FFF2-40B4-BE49-F238E27FC236}">
                  <a16:creationId xmlns:a16="http://schemas.microsoft.com/office/drawing/2014/main" id="{479EC115-F4EF-4688-83FD-AA048A4ACBD6}"/>
                </a:ext>
              </a:extLst>
            </p:cNvPr>
            <p:cNvSpPr/>
            <p:nvPr/>
          </p:nvSpPr>
          <p:spPr bwMode="auto">
            <a:xfrm>
              <a:off x="3097731" y="3411002"/>
              <a:ext cx="3912131" cy="3326728"/>
            </a:xfrm>
            <a:custGeom>
              <a:avLst/>
              <a:gdLst>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009850 w 4510936"/>
                <a:gd name="connsiteY14" fmla="*/ 3835942 h 3835942"/>
                <a:gd name="connsiteX15" fmla="*/ 1789458 w 4510936"/>
                <a:gd name="connsiteY15" fmla="*/ 3835942 h 3835942"/>
                <a:gd name="connsiteX16" fmla="*/ 1792429 w 4510936"/>
                <a:gd name="connsiteY16" fmla="*/ 3610035 h 3835942"/>
                <a:gd name="connsiteX17" fmla="*/ 1770743 w 4510936"/>
                <a:gd name="connsiteY17" fmla="*/ 2832642 h 3835942"/>
                <a:gd name="connsiteX18" fmla="*/ 1081314 w 4510936"/>
                <a:gd name="connsiteY18" fmla="*/ 2061571 h 3835942"/>
                <a:gd name="connsiteX19" fmla="*/ 1562100 w 4510936"/>
                <a:gd name="connsiteY19" fmla="*/ 1896471 h 3835942"/>
                <a:gd name="connsiteX20" fmla="*/ 1034142 w 4510936"/>
                <a:gd name="connsiteY20" fmla="*/ 1807570 h 3835942"/>
                <a:gd name="connsiteX21" fmla="*/ 1676400 w 4510936"/>
                <a:gd name="connsiteY21" fmla="*/ 10963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2674257 w 4510936"/>
                <a:gd name="connsiteY25" fmla="*/ 1626142 h 3835942"/>
                <a:gd name="connsiteX26" fmla="*/ 2238828 w 4510936"/>
                <a:gd name="connsiteY26" fmla="*/ 16515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458028 w 4510936"/>
                <a:gd name="connsiteY30" fmla="*/ 1742256 h 3835942"/>
                <a:gd name="connsiteX31" fmla="*/ 3721099 w 4510936"/>
                <a:gd name="connsiteY31" fmla="*/ 2203084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010556 w 4510936"/>
                <a:gd name="connsiteY42" fmla="*/ 677270 h 3835942"/>
                <a:gd name="connsiteX43" fmla="*/ 1248228 w 4510936"/>
                <a:gd name="connsiteY43" fmla="*/ 994770 h 3835942"/>
                <a:gd name="connsiteX44" fmla="*/ 801914 w 4510936"/>
                <a:gd name="connsiteY44" fmla="*/ 1571713 h 3835942"/>
                <a:gd name="connsiteX45" fmla="*/ 542471 w 4510936"/>
                <a:gd name="connsiteY45" fmla="*/ 1132656 h 3835942"/>
                <a:gd name="connsiteX46" fmla="*/ 812800 w 4510936"/>
                <a:gd name="connsiteY46" fmla="*/ 1843856 h 3835942"/>
                <a:gd name="connsiteX47" fmla="*/ 925285 w 4510936"/>
                <a:gd name="connsiteY47" fmla="*/ 2235742 h 3835942"/>
                <a:gd name="connsiteX48" fmla="*/ 651328 w 4510936"/>
                <a:gd name="connsiteY48" fmla="*/ 2607670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556657 w 4510936"/>
                <a:gd name="connsiteY49" fmla="*/ 2852599 h 3835942"/>
                <a:gd name="connsiteX50" fmla="*/ 1580115 w 4510936"/>
                <a:gd name="connsiteY50" fmla="*/ 3729193 h 3835942"/>
                <a:gd name="connsiteX51" fmla="*/ 1581642 w 4510936"/>
                <a:gd name="connsiteY51" fmla="*/ 3835942 h 3835942"/>
                <a:gd name="connsiteX52" fmla="*/ 1113971 w 4510936"/>
                <a:gd name="connsiteY52" fmla="*/ 3835942 h 3835942"/>
                <a:gd name="connsiteX53" fmla="*/ 836413 w 4510936"/>
                <a:gd name="connsiteY53" fmla="*/ 3086585 h 3835942"/>
                <a:gd name="connsiteX54" fmla="*/ 116170 w 4510936"/>
                <a:gd name="connsiteY54" fmla="*/ 2308285 h 3835942"/>
                <a:gd name="connsiteX55" fmla="*/ 118297 w 4510936"/>
                <a:gd name="connsiteY55" fmla="*/ 2287181 h 3835942"/>
                <a:gd name="connsiteX56" fmla="*/ 98842 w 4510936"/>
                <a:gd name="connsiteY56" fmla="*/ 2263602 h 3835942"/>
                <a:gd name="connsiteX57" fmla="*/ 0 w 4510936"/>
                <a:gd name="connsiteY57" fmla="*/ 1940013 h 3835942"/>
                <a:gd name="connsiteX58" fmla="*/ 98842 w 4510936"/>
                <a:gd name="connsiteY58" fmla="*/ 1616424 h 3835942"/>
                <a:gd name="connsiteX59" fmla="*/ 158494 w 4510936"/>
                <a:gd name="connsiteY59" fmla="*/ 1544125 h 3835942"/>
                <a:gd name="connsiteX60" fmla="*/ 138294 w 4510936"/>
                <a:gd name="connsiteY60" fmla="*/ 1479051 h 3835942"/>
                <a:gd name="connsiteX61" fmla="*/ 124645 w 4510936"/>
                <a:gd name="connsiteY61" fmla="*/ 1343654 h 3835942"/>
                <a:gd name="connsiteX62" fmla="*/ 534966 w 4510936"/>
                <a:gd name="connsiteY62" fmla="*/ 724623 h 3835942"/>
                <a:gd name="connsiteX63" fmla="*/ 655270 w 4510936"/>
                <a:gd name="connsiteY63" fmla="*/ 687278 h 3835942"/>
                <a:gd name="connsiteX64" fmla="*/ 663127 w 4510936"/>
                <a:gd name="connsiteY64" fmla="*/ 661967 h 3835942"/>
                <a:gd name="connsiteX65" fmla="*/ 1282159 w 4510936"/>
                <a:gd name="connsiteY65" fmla="*/ 251645 h 3835942"/>
                <a:gd name="connsiteX66" fmla="*/ 1417556 w 4510936"/>
                <a:gd name="connsiteY66" fmla="*/ 265294 h 3835942"/>
                <a:gd name="connsiteX67" fmla="*/ 1421411 w 4510936"/>
                <a:gd name="connsiteY67" fmla="*/ 266491 h 3835942"/>
                <a:gd name="connsiteX68" fmla="*/ 1478933 w 4510936"/>
                <a:gd name="connsiteY68" fmla="*/ 196773 h 3835942"/>
                <a:gd name="connsiteX69" fmla="*/ 1953986 w 4510936"/>
                <a:gd name="connsiteY6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1556657 w 4510936"/>
                <a:gd name="connsiteY48" fmla="*/ 2852599 h 3835942"/>
                <a:gd name="connsiteX49" fmla="*/ 1580115 w 4510936"/>
                <a:gd name="connsiteY49" fmla="*/ 3729193 h 3835942"/>
                <a:gd name="connsiteX50" fmla="*/ 1581642 w 4510936"/>
                <a:gd name="connsiteY50" fmla="*/ 3835942 h 3835942"/>
                <a:gd name="connsiteX51" fmla="*/ 1113971 w 4510936"/>
                <a:gd name="connsiteY51" fmla="*/ 3835942 h 3835942"/>
                <a:gd name="connsiteX52" fmla="*/ 836413 w 4510936"/>
                <a:gd name="connsiteY52" fmla="*/ 3086585 h 3835942"/>
                <a:gd name="connsiteX53" fmla="*/ 116170 w 4510936"/>
                <a:gd name="connsiteY53" fmla="*/ 2308285 h 3835942"/>
                <a:gd name="connsiteX54" fmla="*/ 118297 w 4510936"/>
                <a:gd name="connsiteY54" fmla="*/ 2287181 h 3835942"/>
                <a:gd name="connsiteX55" fmla="*/ 98842 w 4510936"/>
                <a:gd name="connsiteY55" fmla="*/ 2263602 h 3835942"/>
                <a:gd name="connsiteX56" fmla="*/ 0 w 4510936"/>
                <a:gd name="connsiteY56" fmla="*/ 1940013 h 3835942"/>
                <a:gd name="connsiteX57" fmla="*/ 98842 w 4510936"/>
                <a:gd name="connsiteY57" fmla="*/ 1616424 h 3835942"/>
                <a:gd name="connsiteX58" fmla="*/ 158494 w 4510936"/>
                <a:gd name="connsiteY58" fmla="*/ 1544125 h 3835942"/>
                <a:gd name="connsiteX59" fmla="*/ 138294 w 4510936"/>
                <a:gd name="connsiteY59" fmla="*/ 1479051 h 3835942"/>
                <a:gd name="connsiteX60" fmla="*/ 124645 w 4510936"/>
                <a:gd name="connsiteY60" fmla="*/ 1343654 h 3835942"/>
                <a:gd name="connsiteX61" fmla="*/ 534966 w 4510936"/>
                <a:gd name="connsiteY61" fmla="*/ 724623 h 3835942"/>
                <a:gd name="connsiteX62" fmla="*/ 655270 w 4510936"/>
                <a:gd name="connsiteY62" fmla="*/ 687278 h 3835942"/>
                <a:gd name="connsiteX63" fmla="*/ 663127 w 4510936"/>
                <a:gd name="connsiteY63" fmla="*/ 661967 h 3835942"/>
                <a:gd name="connsiteX64" fmla="*/ 1282159 w 4510936"/>
                <a:gd name="connsiteY64" fmla="*/ 251645 h 3835942"/>
                <a:gd name="connsiteX65" fmla="*/ 1417556 w 4510936"/>
                <a:gd name="connsiteY65" fmla="*/ 265294 h 3835942"/>
                <a:gd name="connsiteX66" fmla="*/ 1421411 w 4510936"/>
                <a:gd name="connsiteY66" fmla="*/ 266491 h 3835942"/>
                <a:gd name="connsiteX67" fmla="*/ 1478933 w 4510936"/>
                <a:gd name="connsiteY67" fmla="*/ 196773 h 3835942"/>
                <a:gd name="connsiteX68" fmla="*/ 1953986 w 4510936"/>
                <a:gd name="connsiteY6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1556657 w 4510936"/>
                <a:gd name="connsiteY47" fmla="*/ 2852599 h 3835942"/>
                <a:gd name="connsiteX48" fmla="*/ 1580115 w 4510936"/>
                <a:gd name="connsiteY48" fmla="*/ 3729193 h 3835942"/>
                <a:gd name="connsiteX49" fmla="*/ 1581642 w 4510936"/>
                <a:gd name="connsiteY49" fmla="*/ 3835942 h 3835942"/>
                <a:gd name="connsiteX50" fmla="*/ 1113971 w 4510936"/>
                <a:gd name="connsiteY50" fmla="*/ 3835942 h 3835942"/>
                <a:gd name="connsiteX51" fmla="*/ 836413 w 4510936"/>
                <a:gd name="connsiteY51" fmla="*/ 3086585 h 3835942"/>
                <a:gd name="connsiteX52" fmla="*/ 116170 w 4510936"/>
                <a:gd name="connsiteY52" fmla="*/ 2308285 h 3835942"/>
                <a:gd name="connsiteX53" fmla="*/ 118297 w 4510936"/>
                <a:gd name="connsiteY53" fmla="*/ 2287181 h 3835942"/>
                <a:gd name="connsiteX54" fmla="*/ 98842 w 4510936"/>
                <a:gd name="connsiteY54" fmla="*/ 2263602 h 3835942"/>
                <a:gd name="connsiteX55" fmla="*/ 0 w 4510936"/>
                <a:gd name="connsiteY55" fmla="*/ 1940013 h 3835942"/>
                <a:gd name="connsiteX56" fmla="*/ 98842 w 4510936"/>
                <a:gd name="connsiteY56" fmla="*/ 1616424 h 3835942"/>
                <a:gd name="connsiteX57" fmla="*/ 158494 w 4510936"/>
                <a:gd name="connsiteY57" fmla="*/ 1544125 h 3835942"/>
                <a:gd name="connsiteX58" fmla="*/ 138294 w 4510936"/>
                <a:gd name="connsiteY58" fmla="*/ 1479051 h 3835942"/>
                <a:gd name="connsiteX59" fmla="*/ 124645 w 4510936"/>
                <a:gd name="connsiteY59" fmla="*/ 1343654 h 3835942"/>
                <a:gd name="connsiteX60" fmla="*/ 534966 w 4510936"/>
                <a:gd name="connsiteY60" fmla="*/ 724623 h 3835942"/>
                <a:gd name="connsiteX61" fmla="*/ 655270 w 4510936"/>
                <a:gd name="connsiteY61" fmla="*/ 687278 h 3835942"/>
                <a:gd name="connsiteX62" fmla="*/ 663127 w 4510936"/>
                <a:gd name="connsiteY62" fmla="*/ 661967 h 3835942"/>
                <a:gd name="connsiteX63" fmla="*/ 1282159 w 4510936"/>
                <a:gd name="connsiteY63" fmla="*/ 251645 h 3835942"/>
                <a:gd name="connsiteX64" fmla="*/ 1417556 w 4510936"/>
                <a:gd name="connsiteY64" fmla="*/ 265294 h 3835942"/>
                <a:gd name="connsiteX65" fmla="*/ 1421411 w 4510936"/>
                <a:gd name="connsiteY65" fmla="*/ 266491 h 3835942"/>
                <a:gd name="connsiteX66" fmla="*/ 1478933 w 4510936"/>
                <a:gd name="connsiteY66" fmla="*/ 196773 h 3835942"/>
                <a:gd name="connsiteX67" fmla="*/ 1953986 w 4510936"/>
                <a:gd name="connsiteY6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1556657 w 4510936"/>
                <a:gd name="connsiteY46" fmla="*/ 2852599 h 3835942"/>
                <a:gd name="connsiteX47" fmla="*/ 1580115 w 4510936"/>
                <a:gd name="connsiteY47" fmla="*/ 3729193 h 3835942"/>
                <a:gd name="connsiteX48" fmla="*/ 1581642 w 4510936"/>
                <a:gd name="connsiteY48" fmla="*/ 3835942 h 3835942"/>
                <a:gd name="connsiteX49" fmla="*/ 1113971 w 4510936"/>
                <a:gd name="connsiteY49" fmla="*/ 3835942 h 3835942"/>
                <a:gd name="connsiteX50" fmla="*/ 836413 w 4510936"/>
                <a:gd name="connsiteY50" fmla="*/ 3086585 h 3835942"/>
                <a:gd name="connsiteX51" fmla="*/ 116170 w 4510936"/>
                <a:gd name="connsiteY51" fmla="*/ 2308285 h 3835942"/>
                <a:gd name="connsiteX52" fmla="*/ 118297 w 4510936"/>
                <a:gd name="connsiteY52" fmla="*/ 2287181 h 3835942"/>
                <a:gd name="connsiteX53" fmla="*/ 98842 w 4510936"/>
                <a:gd name="connsiteY53" fmla="*/ 2263602 h 3835942"/>
                <a:gd name="connsiteX54" fmla="*/ 0 w 4510936"/>
                <a:gd name="connsiteY54" fmla="*/ 1940013 h 3835942"/>
                <a:gd name="connsiteX55" fmla="*/ 98842 w 4510936"/>
                <a:gd name="connsiteY55" fmla="*/ 1616424 h 3835942"/>
                <a:gd name="connsiteX56" fmla="*/ 158494 w 4510936"/>
                <a:gd name="connsiteY56" fmla="*/ 1544125 h 3835942"/>
                <a:gd name="connsiteX57" fmla="*/ 138294 w 4510936"/>
                <a:gd name="connsiteY57" fmla="*/ 1479051 h 3835942"/>
                <a:gd name="connsiteX58" fmla="*/ 124645 w 4510936"/>
                <a:gd name="connsiteY58" fmla="*/ 1343654 h 3835942"/>
                <a:gd name="connsiteX59" fmla="*/ 534966 w 4510936"/>
                <a:gd name="connsiteY59" fmla="*/ 724623 h 3835942"/>
                <a:gd name="connsiteX60" fmla="*/ 655270 w 4510936"/>
                <a:gd name="connsiteY60" fmla="*/ 687278 h 3835942"/>
                <a:gd name="connsiteX61" fmla="*/ 663127 w 4510936"/>
                <a:gd name="connsiteY61" fmla="*/ 661967 h 3835942"/>
                <a:gd name="connsiteX62" fmla="*/ 1282159 w 4510936"/>
                <a:gd name="connsiteY62" fmla="*/ 251645 h 3835942"/>
                <a:gd name="connsiteX63" fmla="*/ 1417556 w 4510936"/>
                <a:gd name="connsiteY63" fmla="*/ 265294 h 3835942"/>
                <a:gd name="connsiteX64" fmla="*/ 1421411 w 4510936"/>
                <a:gd name="connsiteY64" fmla="*/ 266491 h 3835942"/>
                <a:gd name="connsiteX65" fmla="*/ 1478933 w 4510936"/>
                <a:gd name="connsiteY65" fmla="*/ 196773 h 3835942"/>
                <a:gd name="connsiteX66" fmla="*/ 1953986 w 4510936"/>
                <a:gd name="connsiteY6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1556657 w 4510936"/>
                <a:gd name="connsiteY45" fmla="*/ 2852599 h 3835942"/>
                <a:gd name="connsiteX46" fmla="*/ 1580115 w 4510936"/>
                <a:gd name="connsiteY46" fmla="*/ 3729193 h 3835942"/>
                <a:gd name="connsiteX47" fmla="*/ 1581642 w 4510936"/>
                <a:gd name="connsiteY47" fmla="*/ 3835942 h 3835942"/>
                <a:gd name="connsiteX48" fmla="*/ 1113971 w 4510936"/>
                <a:gd name="connsiteY48" fmla="*/ 3835942 h 3835942"/>
                <a:gd name="connsiteX49" fmla="*/ 836413 w 4510936"/>
                <a:gd name="connsiteY49" fmla="*/ 3086585 h 3835942"/>
                <a:gd name="connsiteX50" fmla="*/ 116170 w 4510936"/>
                <a:gd name="connsiteY50" fmla="*/ 2308285 h 3835942"/>
                <a:gd name="connsiteX51" fmla="*/ 118297 w 4510936"/>
                <a:gd name="connsiteY51" fmla="*/ 2287181 h 3835942"/>
                <a:gd name="connsiteX52" fmla="*/ 98842 w 4510936"/>
                <a:gd name="connsiteY52" fmla="*/ 2263602 h 3835942"/>
                <a:gd name="connsiteX53" fmla="*/ 0 w 4510936"/>
                <a:gd name="connsiteY53" fmla="*/ 1940013 h 3835942"/>
                <a:gd name="connsiteX54" fmla="*/ 98842 w 4510936"/>
                <a:gd name="connsiteY54" fmla="*/ 1616424 h 3835942"/>
                <a:gd name="connsiteX55" fmla="*/ 158494 w 4510936"/>
                <a:gd name="connsiteY55" fmla="*/ 1544125 h 3835942"/>
                <a:gd name="connsiteX56" fmla="*/ 138294 w 4510936"/>
                <a:gd name="connsiteY56" fmla="*/ 1479051 h 3835942"/>
                <a:gd name="connsiteX57" fmla="*/ 124645 w 4510936"/>
                <a:gd name="connsiteY57" fmla="*/ 1343654 h 3835942"/>
                <a:gd name="connsiteX58" fmla="*/ 534966 w 4510936"/>
                <a:gd name="connsiteY58" fmla="*/ 724623 h 3835942"/>
                <a:gd name="connsiteX59" fmla="*/ 655270 w 4510936"/>
                <a:gd name="connsiteY59" fmla="*/ 687278 h 3835942"/>
                <a:gd name="connsiteX60" fmla="*/ 663127 w 4510936"/>
                <a:gd name="connsiteY60" fmla="*/ 661967 h 3835942"/>
                <a:gd name="connsiteX61" fmla="*/ 1282159 w 4510936"/>
                <a:gd name="connsiteY61" fmla="*/ 251645 h 3835942"/>
                <a:gd name="connsiteX62" fmla="*/ 1417556 w 4510936"/>
                <a:gd name="connsiteY62" fmla="*/ 265294 h 3835942"/>
                <a:gd name="connsiteX63" fmla="*/ 1421411 w 4510936"/>
                <a:gd name="connsiteY63" fmla="*/ 266491 h 3835942"/>
                <a:gd name="connsiteX64" fmla="*/ 1478933 w 4510936"/>
                <a:gd name="connsiteY64" fmla="*/ 196773 h 3835942"/>
                <a:gd name="connsiteX65" fmla="*/ 1953986 w 4510936"/>
                <a:gd name="connsiteY6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556657 w 4510936"/>
                <a:gd name="connsiteY44" fmla="*/ 2852599 h 3835942"/>
                <a:gd name="connsiteX45" fmla="*/ 1580115 w 4510936"/>
                <a:gd name="connsiteY45" fmla="*/ 3729193 h 3835942"/>
                <a:gd name="connsiteX46" fmla="*/ 1581642 w 4510936"/>
                <a:gd name="connsiteY46" fmla="*/ 3835942 h 3835942"/>
                <a:gd name="connsiteX47" fmla="*/ 1113971 w 4510936"/>
                <a:gd name="connsiteY47" fmla="*/ 3835942 h 3835942"/>
                <a:gd name="connsiteX48" fmla="*/ 836413 w 4510936"/>
                <a:gd name="connsiteY48" fmla="*/ 3086585 h 3835942"/>
                <a:gd name="connsiteX49" fmla="*/ 116170 w 4510936"/>
                <a:gd name="connsiteY49" fmla="*/ 2308285 h 3835942"/>
                <a:gd name="connsiteX50" fmla="*/ 118297 w 4510936"/>
                <a:gd name="connsiteY50" fmla="*/ 2287181 h 3835942"/>
                <a:gd name="connsiteX51" fmla="*/ 98842 w 4510936"/>
                <a:gd name="connsiteY51" fmla="*/ 2263602 h 3835942"/>
                <a:gd name="connsiteX52" fmla="*/ 0 w 4510936"/>
                <a:gd name="connsiteY52" fmla="*/ 1940013 h 3835942"/>
                <a:gd name="connsiteX53" fmla="*/ 98842 w 4510936"/>
                <a:gd name="connsiteY53" fmla="*/ 1616424 h 3835942"/>
                <a:gd name="connsiteX54" fmla="*/ 158494 w 4510936"/>
                <a:gd name="connsiteY54" fmla="*/ 1544125 h 3835942"/>
                <a:gd name="connsiteX55" fmla="*/ 138294 w 4510936"/>
                <a:gd name="connsiteY55" fmla="*/ 1479051 h 3835942"/>
                <a:gd name="connsiteX56" fmla="*/ 124645 w 4510936"/>
                <a:gd name="connsiteY56" fmla="*/ 1343654 h 3835942"/>
                <a:gd name="connsiteX57" fmla="*/ 534966 w 4510936"/>
                <a:gd name="connsiteY57" fmla="*/ 724623 h 3835942"/>
                <a:gd name="connsiteX58" fmla="*/ 655270 w 4510936"/>
                <a:gd name="connsiteY58" fmla="*/ 687278 h 3835942"/>
                <a:gd name="connsiteX59" fmla="*/ 663127 w 4510936"/>
                <a:gd name="connsiteY59" fmla="*/ 661967 h 3835942"/>
                <a:gd name="connsiteX60" fmla="*/ 1282159 w 4510936"/>
                <a:gd name="connsiteY60" fmla="*/ 251645 h 3835942"/>
                <a:gd name="connsiteX61" fmla="*/ 1417556 w 4510936"/>
                <a:gd name="connsiteY61" fmla="*/ 265294 h 3835942"/>
                <a:gd name="connsiteX62" fmla="*/ 1421411 w 4510936"/>
                <a:gd name="connsiteY62" fmla="*/ 266491 h 3835942"/>
                <a:gd name="connsiteX63" fmla="*/ 1478933 w 4510936"/>
                <a:gd name="connsiteY63" fmla="*/ 196773 h 3835942"/>
                <a:gd name="connsiteX64" fmla="*/ 1953986 w 4510936"/>
                <a:gd name="connsiteY6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556657 w 4510936"/>
                <a:gd name="connsiteY43" fmla="*/ 2852599 h 3835942"/>
                <a:gd name="connsiteX44" fmla="*/ 1580115 w 4510936"/>
                <a:gd name="connsiteY44" fmla="*/ 3729193 h 3835942"/>
                <a:gd name="connsiteX45" fmla="*/ 1581642 w 4510936"/>
                <a:gd name="connsiteY45" fmla="*/ 3835942 h 3835942"/>
                <a:gd name="connsiteX46" fmla="*/ 1113971 w 4510936"/>
                <a:gd name="connsiteY46" fmla="*/ 3835942 h 3835942"/>
                <a:gd name="connsiteX47" fmla="*/ 836413 w 4510936"/>
                <a:gd name="connsiteY47" fmla="*/ 3086585 h 3835942"/>
                <a:gd name="connsiteX48" fmla="*/ 116170 w 4510936"/>
                <a:gd name="connsiteY48" fmla="*/ 2308285 h 3835942"/>
                <a:gd name="connsiteX49" fmla="*/ 118297 w 4510936"/>
                <a:gd name="connsiteY49" fmla="*/ 2287181 h 3835942"/>
                <a:gd name="connsiteX50" fmla="*/ 98842 w 4510936"/>
                <a:gd name="connsiteY50" fmla="*/ 2263602 h 3835942"/>
                <a:gd name="connsiteX51" fmla="*/ 0 w 4510936"/>
                <a:gd name="connsiteY51" fmla="*/ 1940013 h 3835942"/>
                <a:gd name="connsiteX52" fmla="*/ 98842 w 4510936"/>
                <a:gd name="connsiteY52" fmla="*/ 1616424 h 3835942"/>
                <a:gd name="connsiteX53" fmla="*/ 158494 w 4510936"/>
                <a:gd name="connsiteY53" fmla="*/ 1544125 h 3835942"/>
                <a:gd name="connsiteX54" fmla="*/ 138294 w 4510936"/>
                <a:gd name="connsiteY54" fmla="*/ 1479051 h 3835942"/>
                <a:gd name="connsiteX55" fmla="*/ 124645 w 4510936"/>
                <a:gd name="connsiteY55" fmla="*/ 1343654 h 3835942"/>
                <a:gd name="connsiteX56" fmla="*/ 534966 w 4510936"/>
                <a:gd name="connsiteY56" fmla="*/ 724623 h 3835942"/>
                <a:gd name="connsiteX57" fmla="*/ 655270 w 4510936"/>
                <a:gd name="connsiteY57" fmla="*/ 687278 h 3835942"/>
                <a:gd name="connsiteX58" fmla="*/ 663127 w 4510936"/>
                <a:gd name="connsiteY58" fmla="*/ 661967 h 3835942"/>
                <a:gd name="connsiteX59" fmla="*/ 1282159 w 4510936"/>
                <a:gd name="connsiteY59" fmla="*/ 251645 h 3835942"/>
                <a:gd name="connsiteX60" fmla="*/ 1417556 w 4510936"/>
                <a:gd name="connsiteY60" fmla="*/ 265294 h 3835942"/>
                <a:gd name="connsiteX61" fmla="*/ 1421411 w 4510936"/>
                <a:gd name="connsiteY61" fmla="*/ 266491 h 3835942"/>
                <a:gd name="connsiteX62" fmla="*/ 1478933 w 4510936"/>
                <a:gd name="connsiteY62" fmla="*/ 196773 h 3835942"/>
                <a:gd name="connsiteX63" fmla="*/ 1953986 w 4510936"/>
                <a:gd name="connsiteY6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556657 w 4510936"/>
                <a:gd name="connsiteY42" fmla="*/ 2852599 h 3835942"/>
                <a:gd name="connsiteX43" fmla="*/ 1580115 w 4510936"/>
                <a:gd name="connsiteY43" fmla="*/ 3729193 h 3835942"/>
                <a:gd name="connsiteX44" fmla="*/ 1581642 w 4510936"/>
                <a:gd name="connsiteY44" fmla="*/ 3835942 h 3835942"/>
                <a:gd name="connsiteX45" fmla="*/ 1113971 w 4510936"/>
                <a:gd name="connsiteY45" fmla="*/ 3835942 h 3835942"/>
                <a:gd name="connsiteX46" fmla="*/ 836413 w 4510936"/>
                <a:gd name="connsiteY46" fmla="*/ 3086585 h 3835942"/>
                <a:gd name="connsiteX47" fmla="*/ 116170 w 4510936"/>
                <a:gd name="connsiteY47" fmla="*/ 2308285 h 3835942"/>
                <a:gd name="connsiteX48" fmla="*/ 118297 w 4510936"/>
                <a:gd name="connsiteY48" fmla="*/ 2287181 h 3835942"/>
                <a:gd name="connsiteX49" fmla="*/ 98842 w 4510936"/>
                <a:gd name="connsiteY49" fmla="*/ 2263602 h 3835942"/>
                <a:gd name="connsiteX50" fmla="*/ 0 w 4510936"/>
                <a:gd name="connsiteY50" fmla="*/ 1940013 h 3835942"/>
                <a:gd name="connsiteX51" fmla="*/ 98842 w 4510936"/>
                <a:gd name="connsiteY51" fmla="*/ 1616424 h 3835942"/>
                <a:gd name="connsiteX52" fmla="*/ 158494 w 4510936"/>
                <a:gd name="connsiteY52" fmla="*/ 1544125 h 3835942"/>
                <a:gd name="connsiteX53" fmla="*/ 138294 w 4510936"/>
                <a:gd name="connsiteY53" fmla="*/ 1479051 h 3835942"/>
                <a:gd name="connsiteX54" fmla="*/ 124645 w 4510936"/>
                <a:gd name="connsiteY54" fmla="*/ 1343654 h 3835942"/>
                <a:gd name="connsiteX55" fmla="*/ 534966 w 4510936"/>
                <a:gd name="connsiteY55" fmla="*/ 724623 h 3835942"/>
                <a:gd name="connsiteX56" fmla="*/ 655270 w 4510936"/>
                <a:gd name="connsiteY56" fmla="*/ 687278 h 3835942"/>
                <a:gd name="connsiteX57" fmla="*/ 663127 w 4510936"/>
                <a:gd name="connsiteY57" fmla="*/ 661967 h 3835942"/>
                <a:gd name="connsiteX58" fmla="*/ 1282159 w 4510936"/>
                <a:gd name="connsiteY58" fmla="*/ 251645 h 3835942"/>
                <a:gd name="connsiteX59" fmla="*/ 1417556 w 4510936"/>
                <a:gd name="connsiteY59" fmla="*/ 265294 h 3835942"/>
                <a:gd name="connsiteX60" fmla="*/ 1421411 w 4510936"/>
                <a:gd name="connsiteY60" fmla="*/ 266491 h 3835942"/>
                <a:gd name="connsiteX61" fmla="*/ 1478933 w 4510936"/>
                <a:gd name="connsiteY61" fmla="*/ 196773 h 3835942"/>
                <a:gd name="connsiteX62" fmla="*/ 1953986 w 4510936"/>
                <a:gd name="connsiteY6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599542 w 4510936"/>
                <a:gd name="connsiteY31" fmla="*/ 1528170 h 3835942"/>
                <a:gd name="connsiteX32" fmla="*/ 3900714 w 4510936"/>
                <a:gd name="connsiteY32" fmla="*/ 1212485 h 3835942"/>
                <a:gd name="connsiteX33" fmla="*/ 3358243 w 4510936"/>
                <a:gd name="connsiteY33" fmla="*/ 1319527 h 3835942"/>
                <a:gd name="connsiteX34" fmla="*/ 2895600 w 4510936"/>
                <a:gd name="connsiteY34" fmla="*/ 1132656 h 3835942"/>
                <a:gd name="connsiteX35" fmla="*/ 3218542 w 4510936"/>
                <a:gd name="connsiteY35" fmla="*/ 617399 h 3835942"/>
                <a:gd name="connsiteX36" fmla="*/ 2715985 w 4510936"/>
                <a:gd name="connsiteY36" fmla="*/ 947598 h 3835942"/>
                <a:gd name="connsiteX37" fmla="*/ 1948542 w 4510936"/>
                <a:gd name="connsiteY37" fmla="*/ 925827 h 3835942"/>
                <a:gd name="connsiteX38" fmla="*/ 2062843 w 4510936"/>
                <a:gd name="connsiteY38" fmla="*/ 403313 h 3835942"/>
                <a:gd name="connsiteX39" fmla="*/ 1816101 w 4510936"/>
                <a:gd name="connsiteY39" fmla="*/ 780685 h 3835942"/>
                <a:gd name="connsiteX40" fmla="*/ 1455057 w 4510936"/>
                <a:gd name="connsiteY40" fmla="*/ 898614 h 3835942"/>
                <a:gd name="connsiteX41" fmla="*/ 1556657 w 4510936"/>
                <a:gd name="connsiteY41" fmla="*/ 2852599 h 3835942"/>
                <a:gd name="connsiteX42" fmla="*/ 1580115 w 4510936"/>
                <a:gd name="connsiteY42" fmla="*/ 3729193 h 3835942"/>
                <a:gd name="connsiteX43" fmla="*/ 1581642 w 4510936"/>
                <a:gd name="connsiteY43" fmla="*/ 3835942 h 3835942"/>
                <a:gd name="connsiteX44" fmla="*/ 1113971 w 4510936"/>
                <a:gd name="connsiteY44" fmla="*/ 3835942 h 3835942"/>
                <a:gd name="connsiteX45" fmla="*/ 836413 w 4510936"/>
                <a:gd name="connsiteY45" fmla="*/ 3086585 h 3835942"/>
                <a:gd name="connsiteX46" fmla="*/ 116170 w 4510936"/>
                <a:gd name="connsiteY46" fmla="*/ 2308285 h 3835942"/>
                <a:gd name="connsiteX47" fmla="*/ 118297 w 4510936"/>
                <a:gd name="connsiteY47" fmla="*/ 2287181 h 3835942"/>
                <a:gd name="connsiteX48" fmla="*/ 98842 w 4510936"/>
                <a:gd name="connsiteY48" fmla="*/ 2263602 h 3835942"/>
                <a:gd name="connsiteX49" fmla="*/ 0 w 4510936"/>
                <a:gd name="connsiteY49" fmla="*/ 1940013 h 3835942"/>
                <a:gd name="connsiteX50" fmla="*/ 98842 w 4510936"/>
                <a:gd name="connsiteY50" fmla="*/ 1616424 h 3835942"/>
                <a:gd name="connsiteX51" fmla="*/ 158494 w 4510936"/>
                <a:gd name="connsiteY51" fmla="*/ 1544125 h 3835942"/>
                <a:gd name="connsiteX52" fmla="*/ 138294 w 4510936"/>
                <a:gd name="connsiteY52" fmla="*/ 1479051 h 3835942"/>
                <a:gd name="connsiteX53" fmla="*/ 124645 w 4510936"/>
                <a:gd name="connsiteY53" fmla="*/ 1343654 h 3835942"/>
                <a:gd name="connsiteX54" fmla="*/ 534966 w 4510936"/>
                <a:gd name="connsiteY54" fmla="*/ 724623 h 3835942"/>
                <a:gd name="connsiteX55" fmla="*/ 655270 w 4510936"/>
                <a:gd name="connsiteY55" fmla="*/ 687278 h 3835942"/>
                <a:gd name="connsiteX56" fmla="*/ 663127 w 4510936"/>
                <a:gd name="connsiteY56" fmla="*/ 661967 h 3835942"/>
                <a:gd name="connsiteX57" fmla="*/ 1282159 w 4510936"/>
                <a:gd name="connsiteY57" fmla="*/ 251645 h 3835942"/>
                <a:gd name="connsiteX58" fmla="*/ 1417556 w 4510936"/>
                <a:gd name="connsiteY58" fmla="*/ 265294 h 3835942"/>
                <a:gd name="connsiteX59" fmla="*/ 1421411 w 4510936"/>
                <a:gd name="connsiteY59" fmla="*/ 266491 h 3835942"/>
                <a:gd name="connsiteX60" fmla="*/ 1478933 w 4510936"/>
                <a:gd name="connsiteY60" fmla="*/ 196773 h 3835942"/>
                <a:gd name="connsiteX61" fmla="*/ 1953986 w 4510936"/>
                <a:gd name="connsiteY6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900714 w 4510936"/>
                <a:gd name="connsiteY31" fmla="*/ 1212485 h 3835942"/>
                <a:gd name="connsiteX32" fmla="*/ 3358243 w 4510936"/>
                <a:gd name="connsiteY32" fmla="*/ 1319527 h 3835942"/>
                <a:gd name="connsiteX33" fmla="*/ 2895600 w 4510936"/>
                <a:gd name="connsiteY33" fmla="*/ 1132656 h 3835942"/>
                <a:gd name="connsiteX34" fmla="*/ 3218542 w 4510936"/>
                <a:gd name="connsiteY34" fmla="*/ 617399 h 3835942"/>
                <a:gd name="connsiteX35" fmla="*/ 2715985 w 4510936"/>
                <a:gd name="connsiteY35" fmla="*/ 947598 h 3835942"/>
                <a:gd name="connsiteX36" fmla="*/ 1948542 w 4510936"/>
                <a:gd name="connsiteY36" fmla="*/ 925827 h 3835942"/>
                <a:gd name="connsiteX37" fmla="*/ 2062843 w 4510936"/>
                <a:gd name="connsiteY37" fmla="*/ 403313 h 3835942"/>
                <a:gd name="connsiteX38" fmla="*/ 1816101 w 4510936"/>
                <a:gd name="connsiteY38" fmla="*/ 780685 h 3835942"/>
                <a:gd name="connsiteX39" fmla="*/ 1455057 w 4510936"/>
                <a:gd name="connsiteY39" fmla="*/ 898614 h 3835942"/>
                <a:gd name="connsiteX40" fmla="*/ 1556657 w 4510936"/>
                <a:gd name="connsiteY40" fmla="*/ 2852599 h 3835942"/>
                <a:gd name="connsiteX41" fmla="*/ 1580115 w 4510936"/>
                <a:gd name="connsiteY41" fmla="*/ 3729193 h 3835942"/>
                <a:gd name="connsiteX42" fmla="*/ 1581642 w 4510936"/>
                <a:gd name="connsiteY42" fmla="*/ 3835942 h 3835942"/>
                <a:gd name="connsiteX43" fmla="*/ 1113971 w 4510936"/>
                <a:gd name="connsiteY43" fmla="*/ 3835942 h 3835942"/>
                <a:gd name="connsiteX44" fmla="*/ 836413 w 4510936"/>
                <a:gd name="connsiteY44" fmla="*/ 3086585 h 3835942"/>
                <a:gd name="connsiteX45" fmla="*/ 116170 w 4510936"/>
                <a:gd name="connsiteY45" fmla="*/ 2308285 h 3835942"/>
                <a:gd name="connsiteX46" fmla="*/ 118297 w 4510936"/>
                <a:gd name="connsiteY46" fmla="*/ 2287181 h 3835942"/>
                <a:gd name="connsiteX47" fmla="*/ 98842 w 4510936"/>
                <a:gd name="connsiteY47" fmla="*/ 2263602 h 3835942"/>
                <a:gd name="connsiteX48" fmla="*/ 0 w 4510936"/>
                <a:gd name="connsiteY48" fmla="*/ 1940013 h 3835942"/>
                <a:gd name="connsiteX49" fmla="*/ 98842 w 4510936"/>
                <a:gd name="connsiteY49" fmla="*/ 1616424 h 3835942"/>
                <a:gd name="connsiteX50" fmla="*/ 158494 w 4510936"/>
                <a:gd name="connsiteY50" fmla="*/ 1544125 h 3835942"/>
                <a:gd name="connsiteX51" fmla="*/ 138294 w 4510936"/>
                <a:gd name="connsiteY51" fmla="*/ 1479051 h 3835942"/>
                <a:gd name="connsiteX52" fmla="*/ 124645 w 4510936"/>
                <a:gd name="connsiteY52" fmla="*/ 1343654 h 3835942"/>
                <a:gd name="connsiteX53" fmla="*/ 534966 w 4510936"/>
                <a:gd name="connsiteY53" fmla="*/ 724623 h 3835942"/>
                <a:gd name="connsiteX54" fmla="*/ 655270 w 4510936"/>
                <a:gd name="connsiteY54" fmla="*/ 687278 h 3835942"/>
                <a:gd name="connsiteX55" fmla="*/ 663127 w 4510936"/>
                <a:gd name="connsiteY55" fmla="*/ 661967 h 3835942"/>
                <a:gd name="connsiteX56" fmla="*/ 1282159 w 4510936"/>
                <a:gd name="connsiteY56" fmla="*/ 251645 h 3835942"/>
                <a:gd name="connsiteX57" fmla="*/ 1417556 w 4510936"/>
                <a:gd name="connsiteY57" fmla="*/ 265294 h 3835942"/>
                <a:gd name="connsiteX58" fmla="*/ 1421411 w 4510936"/>
                <a:gd name="connsiteY58" fmla="*/ 266491 h 3835942"/>
                <a:gd name="connsiteX59" fmla="*/ 1478933 w 4510936"/>
                <a:gd name="connsiteY59" fmla="*/ 196773 h 3835942"/>
                <a:gd name="connsiteX60" fmla="*/ 1953986 w 4510936"/>
                <a:gd name="connsiteY6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358243 w 4510936"/>
                <a:gd name="connsiteY31" fmla="*/ 1319527 h 3835942"/>
                <a:gd name="connsiteX32" fmla="*/ 2895600 w 4510936"/>
                <a:gd name="connsiteY32" fmla="*/ 1132656 h 3835942"/>
                <a:gd name="connsiteX33" fmla="*/ 3218542 w 4510936"/>
                <a:gd name="connsiteY33" fmla="*/ 617399 h 3835942"/>
                <a:gd name="connsiteX34" fmla="*/ 2715985 w 4510936"/>
                <a:gd name="connsiteY34" fmla="*/ 947598 h 3835942"/>
                <a:gd name="connsiteX35" fmla="*/ 1948542 w 4510936"/>
                <a:gd name="connsiteY35" fmla="*/ 925827 h 3835942"/>
                <a:gd name="connsiteX36" fmla="*/ 2062843 w 4510936"/>
                <a:gd name="connsiteY36" fmla="*/ 403313 h 3835942"/>
                <a:gd name="connsiteX37" fmla="*/ 1816101 w 4510936"/>
                <a:gd name="connsiteY37" fmla="*/ 780685 h 3835942"/>
                <a:gd name="connsiteX38" fmla="*/ 1455057 w 4510936"/>
                <a:gd name="connsiteY38" fmla="*/ 898614 h 3835942"/>
                <a:gd name="connsiteX39" fmla="*/ 1556657 w 4510936"/>
                <a:gd name="connsiteY39" fmla="*/ 2852599 h 3835942"/>
                <a:gd name="connsiteX40" fmla="*/ 1580115 w 4510936"/>
                <a:gd name="connsiteY40" fmla="*/ 3729193 h 3835942"/>
                <a:gd name="connsiteX41" fmla="*/ 1581642 w 4510936"/>
                <a:gd name="connsiteY41" fmla="*/ 3835942 h 3835942"/>
                <a:gd name="connsiteX42" fmla="*/ 1113971 w 4510936"/>
                <a:gd name="connsiteY42" fmla="*/ 3835942 h 3835942"/>
                <a:gd name="connsiteX43" fmla="*/ 836413 w 4510936"/>
                <a:gd name="connsiteY43" fmla="*/ 3086585 h 3835942"/>
                <a:gd name="connsiteX44" fmla="*/ 116170 w 4510936"/>
                <a:gd name="connsiteY44" fmla="*/ 2308285 h 3835942"/>
                <a:gd name="connsiteX45" fmla="*/ 118297 w 4510936"/>
                <a:gd name="connsiteY45" fmla="*/ 2287181 h 3835942"/>
                <a:gd name="connsiteX46" fmla="*/ 98842 w 4510936"/>
                <a:gd name="connsiteY46" fmla="*/ 2263602 h 3835942"/>
                <a:gd name="connsiteX47" fmla="*/ 0 w 4510936"/>
                <a:gd name="connsiteY47" fmla="*/ 1940013 h 3835942"/>
                <a:gd name="connsiteX48" fmla="*/ 98842 w 4510936"/>
                <a:gd name="connsiteY48" fmla="*/ 1616424 h 3835942"/>
                <a:gd name="connsiteX49" fmla="*/ 158494 w 4510936"/>
                <a:gd name="connsiteY49" fmla="*/ 1544125 h 3835942"/>
                <a:gd name="connsiteX50" fmla="*/ 138294 w 4510936"/>
                <a:gd name="connsiteY50" fmla="*/ 1479051 h 3835942"/>
                <a:gd name="connsiteX51" fmla="*/ 124645 w 4510936"/>
                <a:gd name="connsiteY51" fmla="*/ 1343654 h 3835942"/>
                <a:gd name="connsiteX52" fmla="*/ 534966 w 4510936"/>
                <a:gd name="connsiteY52" fmla="*/ 724623 h 3835942"/>
                <a:gd name="connsiteX53" fmla="*/ 655270 w 4510936"/>
                <a:gd name="connsiteY53" fmla="*/ 687278 h 3835942"/>
                <a:gd name="connsiteX54" fmla="*/ 663127 w 4510936"/>
                <a:gd name="connsiteY54" fmla="*/ 661967 h 3835942"/>
                <a:gd name="connsiteX55" fmla="*/ 1282159 w 4510936"/>
                <a:gd name="connsiteY55" fmla="*/ 251645 h 3835942"/>
                <a:gd name="connsiteX56" fmla="*/ 1417556 w 4510936"/>
                <a:gd name="connsiteY56" fmla="*/ 265294 h 3835942"/>
                <a:gd name="connsiteX57" fmla="*/ 1421411 w 4510936"/>
                <a:gd name="connsiteY57" fmla="*/ 266491 h 3835942"/>
                <a:gd name="connsiteX58" fmla="*/ 1478933 w 4510936"/>
                <a:gd name="connsiteY58" fmla="*/ 196773 h 3835942"/>
                <a:gd name="connsiteX59" fmla="*/ 1953986 w 4510936"/>
                <a:gd name="connsiteY5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2895600 w 4510936"/>
                <a:gd name="connsiteY31" fmla="*/ 1132656 h 3835942"/>
                <a:gd name="connsiteX32" fmla="*/ 3218542 w 4510936"/>
                <a:gd name="connsiteY32" fmla="*/ 617399 h 3835942"/>
                <a:gd name="connsiteX33" fmla="*/ 2715985 w 4510936"/>
                <a:gd name="connsiteY33" fmla="*/ 947598 h 3835942"/>
                <a:gd name="connsiteX34" fmla="*/ 1948542 w 4510936"/>
                <a:gd name="connsiteY34" fmla="*/ 925827 h 3835942"/>
                <a:gd name="connsiteX35" fmla="*/ 2062843 w 4510936"/>
                <a:gd name="connsiteY35" fmla="*/ 403313 h 3835942"/>
                <a:gd name="connsiteX36" fmla="*/ 1816101 w 4510936"/>
                <a:gd name="connsiteY36" fmla="*/ 780685 h 3835942"/>
                <a:gd name="connsiteX37" fmla="*/ 1455057 w 4510936"/>
                <a:gd name="connsiteY37" fmla="*/ 898614 h 3835942"/>
                <a:gd name="connsiteX38" fmla="*/ 1556657 w 4510936"/>
                <a:gd name="connsiteY38" fmla="*/ 2852599 h 3835942"/>
                <a:gd name="connsiteX39" fmla="*/ 1580115 w 4510936"/>
                <a:gd name="connsiteY39" fmla="*/ 3729193 h 3835942"/>
                <a:gd name="connsiteX40" fmla="*/ 1581642 w 4510936"/>
                <a:gd name="connsiteY40" fmla="*/ 3835942 h 3835942"/>
                <a:gd name="connsiteX41" fmla="*/ 1113971 w 4510936"/>
                <a:gd name="connsiteY41" fmla="*/ 3835942 h 3835942"/>
                <a:gd name="connsiteX42" fmla="*/ 836413 w 4510936"/>
                <a:gd name="connsiteY42" fmla="*/ 3086585 h 3835942"/>
                <a:gd name="connsiteX43" fmla="*/ 116170 w 4510936"/>
                <a:gd name="connsiteY43" fmla="*/ 2308285 h 3835942"/>
                <a:gd name="connsiteX44" fmla="*/ 118297 w 4510936"/>
                <a:gd name="connsiteY44" fmla="*/ 2287181 h 3835942"/>
                <a:gd name="connsiteX45" fmla="*/ 98842 w 4510936"/>
                <a:gd name="connsiteY45" fmla="*/ 2263602 h 3835942"/>
                <a:gd name="connsiteX46" fmla="*/ 0 w 4510936"/>
                <a:gd name="connsiteY46" fmla="*/ 1940013 h 3835942"/>
                <a:gd name="connsiteX47" fmla="*/ 98842 w 4510936"/>
                <a:gd name="connsiteY47" fmla="*/ 1616424 h 3835942"/>
                <a:gd name="connsiteX48" fmla="*/ 158494 w 4510936"/>
                <a:gd name="connsiteY48" fmla="*/ 1544125 h 3835942"/>
                <a:gd name="connsiteX49" fmla="*/ 138294 w 4510936"/>
                <a:gd name="connsiteY49" fmla="*/ 1479051 h 3835942"/>
                <a:gd name="connsiteX50" fmla="*/ 124645 w 4510936"/>
                <a:gd name="connsiteY50" fmla="*/ 1343654 h 3835942"/>
                <a:gd name="connsiteX51" fmla="*/ 534966 w 4510936"/>
                <a:gd name="connsiteY51" fmla="*/ 724623 h 3835942"/>
                <a:gd name="connsiteX52" fmla="*/ 655270 w 4510936"/>
                <a:gd name="connsiteY52" fmla="*/ 687278 h 3835942"/>
                <a:gd name="connsiteX53" fmla="*/ 663127 w 4510936"/>
                <a:gd name="connsiteY53" fmla="*/ 661967 h 3835942"/>
                <a:gd name="connsiteX54" fmla="*/ 1282159 w 4510936"/>
                <a:gd name="connsiteY54" fmla="*/ 251645 h 3835942"/>
                <a:gd name="connsiteX55" fmla="*/ 1417556 w 4510936"/>
                <a:gd name="connsiteY55" fmla="*/ 265294 h 3835942"/>
                <a:gd name="connsiteX56" fmla="*/ 1421411 w 4510936"/>
                <a:gd name="connsiteY56" fmla="*/ 266491 h 3835942"/>
                <a:gd name="connsiteX57" fmla="*/ 1478933 w 4510936"/>
                <a:gd name="connsiteY57" fmla="*/ 196773 h 3835942"/>
                <a:gd name="connsiteX58" fmla="*/ 1953986 w 4510936"/>
                <a:gd name="connsiteY5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218542 w 4510936"/>
                <a:gd name="connsiteY31" fmla="*/ 617399 h 3835942"/>
                <a:gd name="connsiteX32" fmla="*/ 2715985 w 4510936"/>
                <a:gd name="connsiteY32" fmla="*/ 947598 h 3835942"/>
                <a:gd name="connsiteX33" fmla="*/ 1948542 w 4510936"/>
                <a:gd name="connsiteY33" fmla="*/ 925827 h 3835942"/>
                <a:gd name="connsiteX34" fmla="*/ 2062843 w 4510936"/>
                <a:gd name="connsiteY34" fmla="*/ 403313 h 3835942"/>
                <a:gd name="connsiteX35" fmla="*/ 1816101 w 4510936"/>
                <a:gd name="connsiteY35" fmla="*/ 780685 h 3835942"/>
                <a:gd name="connsiteX36" fmla="*/ 1455057 w 4510936"/>
                <a:gd name="connsiteY36" fmla="*/ 898614 h 3835942"/>
                <a:gd name="connsiteX37" fmla="*/ 1556657 w 4510936"/>
                <a:gd name="connsiteY37" fmla="*/ 2852599 h 3835942"/>
                <a:gd name="connsiteX38" fmla="*/ 1580115 w 4510936"/>
                <a:gd name="connsiteY38" fmla="*/ 3729193 h 3835942"/>
                <a:gd name="connsiteX39" fmla="*/ 1581642 w 4510936"/>
                <a:gd name="connsiteY39" fmla="*/ 3835942 h 3835942"/>
                <a:gd name="connsiteX40" fmla="*/ 1113971 w 4510936"/>
                <a:gd name="connsiteY40" fmla="*/ 3835942 h 3835942"/>
                <a:gd name="connsiteX41" fmla="*/ 836413 w 4510936"/>
                <a:gd name="connsiteY41" fmla="*/ 3086585 h 3835942"/>
                <a:gd name="connsiteX42" fmla="*/ 116170 w 4510936"/>
                <a:gd name="connsiteY42" fmla="*/ 2308285 h 3835942"/>
                <a:gd name="connsiteX43" fmla="*/ 118297 w 4510936"/>
                <a:gd name="connsiteY43" fmla="*/ 2287181 h 3835942"/>
                <a:gd name="connsiteX44" fmla="*/ 98842 w 4510936"/>
                <a:gd name="connsiteY44" fmla="*/ 2263602 h 3835942"/>
                <a:gd name="connsiteX45" fmla="*/ 0 w 4510936"/>
                <a:gd name="connsiteY45" fmla="*/ 1940013 h 3835942"/>
                <a:gd name="connsiteX46" fmla="*/ 98842 w 4510936"/>
                <a:gd name="connsiteY46" fmla="*/ 1616424 h 3835942"/>
                <a:gd name="connsiteX47" fmla="*/ 158494 w 4510936"/>
                <a:gd name="connsiteY47" fmla="*/ 1544125 h 3835942"/>
                <a:gd name="connsiteX48" fmla="*/ 138294 w 4510936"/>
                <a:gd name="connsiteY48" fmla="*/ 1479051 h 3835942"/>
                <a:gd name="connsiteX49" fmla="*/ 124645 w 4510936"/>
                <a:gd name="connsiteY49" fmla="*/ 1343654 h 3835942"/>
                <a:gd name="connsiteX50" fmla="*/ 534966 w 4510936"/>
                <a:gd name="connsiteY50" fmla="*/ 724623 h 3835942"/>
                <a:gd name="connsiteX51" fmla="*/ 655270 w 4510936"/>
                <a:gd name="connsiteY51" fmla="*/ 687278 h 3835942"/>
                <a:gd name="connsiteX52" fmla="*/ 663127 w 4510936"/>
                <a:gd name="connsiteY52" fmla="*/ 661967 h 3835942"/>
                <a:gd name="connsiteX53" fmla="*/ 1282159 w 4510936"/>
                <a:gd name="connsiteY53" fmla="*/ 251645 h 3835942"/>
                <a:gd name="connsiteX54" fmla="*/ 1417556 w 4510936"/>
                <a:gd name="connsiteY54" fmla="*/ 265294 h 3835942"/>
                <a:gd name="connsiteX55" fmla="*/ 1421411 w 4510936"/>
                <a:gd name="connsiteY55" fmla="*/ 266491 h 3835942"/>
                <a:gd name="connsiteX56" fmla="*/ 1478933 w 4510936"/>
                <a:gd name="connsiteY56" fmla="*/ 196773 h 3835942"/>
                <a:gd name="connsiteX57" fmla="*/ 1953986 w 4510936"/>
                <a:gd name="connsiteY5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218542 w 4510936"/>
                <a:gd name="connsiteY30" fmla="*/ 617399 h 3835942"/>
                <a:gd name="connsiteX31" fmla="*/ 2715985 w 4510936"/>
                <a:gd name="connsiteY31" fmla="*/ 947598 h 3835942"/>
                <a:gd name="connsiteX32" fmla="*/ 1948542 w 4510936"/>
                <a:gd name="connsiteY32" fmla="*/ 925827 h 3835942"/>
                <a:gd name="connsiteX33" fmla="*/ 2062843 w 4510936"/>
                <a:gd name="connsiteY33" fmla="*/ 403313 h 3835942"/>
                <a:gd name="connsiteX34" fmla="*/ 1816101 w 4510936"/>
                <a:gd name="connsiteY34" fmla="*/ 780685 h 3835942"/>
                <a:gd name="connsiteX35" fmla="*/ 1455057 w 4510936"/>
                <a:gd name="connsiteY35" fmla="*/ 898614 h 3835942"/>
                <a:gd name="connsiteX36" fmla="*/ 1556657 w 4510936"/>
                <a:gd name="connsiteY36" fmla="*/ 2852599 h 3835942"/>
                <a:gd name="connsiteX37" fmla="*/ 1580115 w 4510936"/>
                <a:gd name="connsiteY37" fmla="*/ 3729193 h 3835942"/>
                <a:gd name="connsiteX38" fmla="*/ 1581642 w 4510936"/>
                <a:gd name="connsiteY38" fmla="*/ 3835942 h 3835942"/>
                <a:gd name="connsiteX39" fmla="*/ 1113971 w 4510936"/>
                <a:gd name="connsiteY39" fmla="*/ 3835942 h 3835942"/>
                <a:gd name="connsiteX40" fmla="*/ 836413 w 4510936"/>
                <a:gd name="connsiteY40" fmla="*/ 3086585 h 3835942"/>
                <a:gd name="connsiteX41" fmla="*/ 116170 w 4510936"/>
                <a:gd name="connsiteY41" fmla="*/ 2308285 h 3835942"/>
                <a:gd name="connsiteX42" fmla="*/ 118297 w 4510936"/>
                <a:gd name="connsiteY42" fmla="*/ 2287181 h 3835942"/>
                <a:gd name="connsiteX43" fmla="*/ 98842 w 4510936"/>
                <a:gd name="connsiteY43" fmla="*/ 2263602 h 3835942"/>
                <a:gd name="connsiteX44" fmla="*/ 0 w 4510936"/>
                <a:gd name="connsiteY44" fmla="*/ 1940013 h 3835942"/>
                <a:gd name="connsiteX45" fmla="*/ 98842 w 4510936"/>
                <a:gd name="connsiteY45" fmla="*/ 1616424 h 3835942"/>
                <a:gd name="connsiteX46" fmla="*/ 158494 w 4510936"/>
                <a:gd name="connsiteY46" fmla="*/ 1544125 h 3835942"/>
                <a:gd name="connsiteX47" fmla="*/ 138294 w 4510936"/>
                <a:gd name="connsiteY47" fmla="*/ 1479051 h 3835942"/>
                <a:gd name="connsiteX48" fmla="*/ 124645 w 4510936"/>
                <a:gd name="connsiteY48" fmla="*/ 1343654 h 3835942"/>
                <a:gd name="connsiteX49" fmla="*/ 534966 w 4510936"/>
                <a:gd name="connsiteY49" fmla="*/ 724623 h 3835942"/>
                <a:gd name="connsiteX50" fmla="*/ 655270 w 4510936"/>
                <a:gd name="connsiteY50" fmla="*/ 687278 h 3835942"/>
                <a:gd name="connsiteX51" fmla="*/ 663127 w 4510936"/>
                <a:gd name="connsiteY51" fmla="*/ 661967 h 3835942"/>
                <a:gd name="connsiteX52" fmla="*/ 1282159 w 4510936"/>
                <a:gd name="connsiteY52" fmla="*/ 251645 h 3835942"/>
                <a:gd name="connsiteX53" fmla="*/ 1417556 w 4510936"/>
                <a:gd name="connsiteY53" fmla="*/ 265294 h 3835942"/>
                <a:gd name="connsiteX54" fmla="*/ 1421411 w 4510936"/>
                <a:gd name="connsiteY54" fmla="*/ 266491 h 3835942"/>
                <a:gd name="connsiteX55" fmla="*/ 1478933 w 4510936"/>
                <a:gd name="connsiteY55" fmla="*/ 196773 h 3835942"/>
                <a:gd name="connsiteX56" fmla="*/ 1953986 w 4510936"/>
                <a:gd name="connsiteY5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623457 w 4510936"/>
                <a:gd name="connsiteY27" fmla="*/ 1212485 h 3835942"/>
                <a:gd name="connsiteX28" fmla="*/ 3131457 w 4510936"/>
                <a:gd name="connsiteY28" fmla="*/ 1528170 h 3835942"/>
                <a:gd name="connsiteX29" fmla="*/ 3218542 w 4510936"/>
                <a:gd name="connsiteY29" fmla="*/ 617399 h 3835942"/>
                <a:gd name="connsiteX30" fmla="*/ 2715985 w 4510936"/>
                <a:gd name="connsiteY30" fmla="*/ 947598 h 3835942"/>
                <a:gd name="connsiteX31" fmla="*/ 1948542 w 4510936"/>
                <a:gd name="connsiteY31" fmla="*/ 925827 h 3835942"/>
                <a:gd name="connsiteX32" fmla="*/ 2062843 w 4510936"/>
                <a:gd name="connsiteY32" fmla="*/ 403313 h 3835942"/>
                <a:gd name="connsiteX33" fmla="*/ 1816101 w 4510936"/>
                <a:gd name="connsiteY33" fmla="*/ 780685 h 3835942"/>
                <a:gd name="connsiteX34" fmla="*/ 1455057 w 4510936"/>
                <a:gd name="connsiteY34" fmla="*/ 898614 h 3835942"/>
                <a:gd name="connsiteX35" fmla="*/ 1556657 w 4510936"/>
                <a:gd name="connsiteY35" fmla="*/ 2852599 h 3835942"/>
                <a:gd name="connsiteX36" fmla="*/ 1580115 w 4510936"/>
                <a:gd name="connsiteY36" fmla="*/ 3729193 h 3835942"/>
                <a:gd name="connsiteX37" fmla="*/ 1581642 w 4510936"/>
                <a:gd name="connsiteY37" fmla="*/ 3835942 h 3835942"/>
                <a:gd name="connsiteX38" fmla="*/ 1113971 w 4510936"/>
                <a:gd name="connsiteY38" fmla="*/ 3835942 h 3835942"/>
                <a:gd name="connsiteX39" fmla="*/ 836413 w 4510936"/>
                <a:gd name="connsiteY39" fmla="*/ 3086585 h 3835942"/>
                <a:gd name="connsiteX40" fmla="*/ 116170 w 4510936"/>
                <a:gd name="connsiteY40" fmla="*/ 2308285 h 3835942"/>
                <a:gd name="connsiteX41" fmla="*/ 118297 w 4510936"/>
                <a:gd name="connsiteY41" fmla="*/ 2287181 h 3835942"/>
                <a:gd name="connsiteX42" fmla="*/ 98842 w 4510936"/>
                <a:gd name="connsiteY42" fmla="*/ 2263602 h 3835942"/>
                <a:gd name="connsiteX43" fmla="*/ 0 w 4510936"/>
                <a:gd name="connsiteY43" fmla="*/ 1940013 h 3835942"/>
                <a:gd name="connsiteX44" fmla="*/ 98842 w 4510936"/>
                <a:gd name="connsiteY44" fmla="*/ 1616424 h 3835942"/>
                <a:gd name="connsiteX45" fmla="*/ 158494 w 4510936"/>
                <a:gd name="connsiteY45" fmla="*/ 1544125 h 3835942"/>
                <a:gd name="connsiteX46" fmla="*/ 138294 w 4510936"/>
                <a:gd name="connsiteY46" fmla="*/ 1479051 h 3835942"/>
                <a:gd name="connsiteX47" fmla="*/ 124645 w 4510936"/>
                <a:gd name="connsiteY47" fmla="*/ 1343654 h 3835942"/>
                <a:gd name="connsiteX48" fmla="*/ 534966 w 4510936"/>
                <a:gd name="connsiteY48" fmla="*/ 724623 h 3835942"/>
                <a:gd name="connsiteX49" fmla="*/ 655270 w 4510936"/>
                <a:gd name="connsiteY49" fmla="*/ 687278 h 3835942"/>
                <a:gd name="connsiteX50" fmla="*/ 663127 w 4510936"/>
                <a:gd name="connsiteY50" fmla="*/ 661967 h 3835942"/>
                <a:gd name="connsiteX51" fmla="*/ 1282159 w 4510936"/>
                <a:gd name="connsiteY51" fmla="*/ 251645 h 3835942"/>
                <a:gd name="connsiteX52" fmla="*/ 1417556 w 4510936"/>
                <a:gd name="connsiteY52" fmla="*/ 265294 h 3835942"/>
                <a:gd name="connsiteX53" fmla="*/ 1421411 w 4510936"/>
                <a:gd name="connsiteY53" fmla="*/ 266491 h 3835942"/>
                <a:gd name="connsiteX54" fmla="*/ 1478933 w 4510936"/>
                <a:gd name="connsiteY54" fmla="*/ 196773 h 3835942"/>
                <a:gd name="connsiteX55" fmla="*/ 1953986 w 4510936"/>
                <a:gd name="connsiteY5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3131457 w 4510936"/>
                <a:gd name="connsiteY27" fmla="*/ 1528170 h 3835942"/>
                <a:gd name="connsiteX28" fmla="*/ 3218542 w 4510936"/>
                <a:gd name="connsiteY28" fmla="*/ 617399 h 3835942"/>
                <a:gd name="connsiteX29" fmla="*/ 2715985 w 4510936"/>
                <a:gd name="connsiteY29" fmla="*/ 947598 h 3835942"/>
                <a:gd name="connsiteX30" fmla="*/ 1948542 w 4510936"/>
                <a:gd name="connsiteY30" fmla="*/ 925827 h 3835942"/>
                <a:gd name="connsiteX31" fmla="*/ 2062843 w 4510936"/>
                <a:gd name="connsiteY31" fmla="*/ 403313 h 3835942"/>
                <a:gd name="connsiteX32" fmla="*/ 1816101 w 4510936"/>
                <a:gd name="connsiteY32" fmla="*/ 780685 h 3835942"/>
                <a:gd name="connsiteX33" fmla="*/ 1455057 w 4510936"/>
                <a:gd name="connsiteY33" fmla="*/ 898614 h 3835942"/>
                <a:gd name="connsiteX34" fmla="*/ 1556657 w 4510936"/>
                <a:gd name="connsiteY34" fmla="*/ 2852599 h 3835942"/>
                <a:gd name="connsiteX35" fmla="*/ 1580115 w 4510936"/>
                <a:gd name="connsiteY35" fmla="*/ 3729193 h 3835942"/>
                <a:gd name="connsiteX36" fmla="*/ 1581642 w 4510936"/>
                <a:gd name="connsiteY36" fmla="*/ 3835942 h 3835942"/>
                <a:gd name="connsiteX37" fmla="*/ 1113971 w 4510936"/>
                <a:gd name="connsiteY37" fmla="*/ 3835942 h 3835942"/>
                <a:gd name="connsiteX38" fmla="*/ 836413 w 4510936"/>
                <a:gd name="connsiteY38" fmla="*/ 3086585 h 3835942"/>
                <a:gd name="connsiteX39" fmla="*/ 116170 w 4510936"/>
                <a:gd name="connsiteY39" fmla="*/ 2308285 h 3835942"/>
                <a:gd name="connsiteX40" fmla="*/ 118297 w 4510936"/>
                <a:gd name="connsiteY40" fmla="*/ 2287181 h 3835942"/>
                <a:gd name="connsiteX41" fmla="*/ 98842 w 4510936"/>
                <a:gd name="connsiteY41" fmla="*/ 2263602 h 3835942"/>
                <a:gd name="connsiteX42" fmla="*/ 0 w 4510936"/>
                <a:gd name="connsiteY42" fmla="*/ 1940013 h 3835942"/>
                <a:gd name="connsiteX43" fmla="*/ 98842 w 4510936"/>
                <a:gd name="connsiteY43" fmla="*/ 1616424 h 3835942"/>
                <a:gd name="connsiteX44" fmla="*/ 158494 w 4510936"/>
                <a:gd name="connsiteY44" fmla="*/ 1544125 h 3835942"/>
                <a:gd name="connsiteX45" fmla="*/ 138294 w 4510936"/>
                <a:gd name="connsiteY45" fmla="*/ 1479051 h 3835942"/>
                <a:gd name="connsiteX46" fmla="*/ 124645 w 4510936"/>
                <a:gd name="connsiteY46" fmla="*/ 1343654 h 3835942"/>
                <a:gd name="connsiteX47" fmla="*/ 534966 w 4510936"/>
                <a:gd name="connsiteY47" fmla="*/ 724623 h 3835942"/>
                <a:gd name="connsiteX48" fmla="*/ 655270 w 4510936"/>
                <a:gd name="connsiteY48" fmla="*/ 687278 h 3835942"/>
                <a:gd name="connsiteX49" fmla="*/ 663127 w 4510936"/>
                <a:gd name="connsiteY49" fmla="*/ 661967 h 3835942"/>
                <a:gd name="connsiteX50" fmla="*/ 1282159 w 4510936"/>
                <a:gd name="connsiteY50" fmla="*/ 251645 h 3835942"/>
                <a:gd name="connsiteX51" fmla="*/ 1417556 w 4510936"/>
                <a:gd name="connsiteY51" fmla="*/ 265294 h 3835942"/>
                <a:gd name="connsiteX52" fmla="*/ 1421411 w 4510936"/>
                <a:gd name="connsiteY52" fmla="*/ 266491 h 3835942"/>
                <a:gd name="connsiteX53" fmla="*/ 1478933 w 4510936"/>
                <a:gd name="connsiteY53" fmla="*/ 196773 h 3835942"/>
                <a:gd name="connsiteX54" fmla="*/ 1953986 w 4510936"/>
                <a:gd name="connsiteY5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131457 w 4510936"/>
                <a:gd name="connsiteY26" fmla="*/ 1528170 h 3835942"/>
                <a:gd name="connsiteX27" fmla="*/ 3218542 w 4510936"/>
                <a:gd name="connsiteY27" fmla="*/ 617399 h 3835942"/>
                <a:gd name="connsiteX28" fmla="*/ 2715985 w 4510936"/>
                <a:gd name="connsiteY28" fmla="*/ 947598 h 3835942"/>
                <a:gd name="connsiteX29" fmla="*/ 1948542 w 4510936"/>
                <a:gd name="connsiteY29" fmla="*/ 925827 h 3835942"/>
                <a:gd name="connsiteX30" fmla="*/ 2062843 w 4510936"/>
                <a:gd name="connsiteY30" fmla="*/ 403313 h 3835942"/>
                <a:gd name="connsiteX31" fmla="*/ 1816101 w 4510936"/>
                <a:gd name="connsiteY31" fmla="*/ 780685 h 3835942"/>
                <a:gd name="connsiteX32" fmla="*/ 1455057 w 4510936"/>
                <a:gd name="connsiteY32" fmla="*/ 898614 h 3835942"/>
                <a:gd name="connsiteX33" fmla="*/ 1556657 w 4510936"/>
                <a:gd name="connsiteY33" fmla="*/ 2852599 h 3835942"/>
                <a:gd name="connsiteX34" fmla="*/ 1580115 w 4510936"/>
                <a:gd name="connsiteY34" fmla="*/ 3729193 h 3835942"/>
                <a:gd name="connsiteX35" fmla="*/ 1581642 w 4510936"/>
                <a:gd name="connsiteY35" fmla="*/ 3835942 h 3835942"/>
                <a:gd name="connsiteX36" fmla="*/ 1113971 w 4510936"/>
                <a:gd name="connsiteY36" fmla="*/ 3835942 h 3835942"/>
                <a:gd name="connsiteX37" fmla="*/ 836413 w 4510936"/>
                <a:gd name="connsiteY37" fmla="*/ 3086585 h 3835942"/>
                <a:gd name="connsiteX38" fmla="*/ 116170 w 4510936"/>
                <a:gd name="connsiteY38" fmla="*/ 2308285 h 3835942"/>
                <a:gd name="connsiteX39" fmla="*/ 118297 w 4510936"/>
                <a:gd name="connsiteY39" fmla="*/ 2287181 h 3835942"/>
                <a:gd name="connsiteX40" fmla="*/ 98842 w 4510936"/>
                <a:gd name="connsiteY40" fmla="*/ 2263602 h 3835942"/>
                <a:gd name="connsiteX41" fmla="*/ 0 w 4510936"/>
                <a:gd name="connsiteY41" fmla="*/ 1940013 h 3835942"/>
                <a:gd name="connsiteX42" fmla="*/ 98842 w 4510936"/>
                <a:gd name="connsiteY42" fmla="*/ 1616424 h 3835942"/>
                <a:gd name="connsiteX43" fmla="*/ 158494 w 4510936"/>
                <a:gd name="connsiteY43" fmla="*/ 1544125 h 3835942"/>
                <a:gd name="connsiteX44" fmla="*/ 138294 w 4510936"/>
                <a:gd name="connsiteY44" fmla="*/ 1479051 h 3835942"/>
                <a:gd name="connsiteX45" fmla="*/ 124645 w 4510936"/>
                <a:gd name="connsiteY45" fmla="*/ 1343654 h 3835942"/>
                <a:gd name="connsiteX46" fmla="*/ 534966 w 4510936"/>
                <a:gd name="connsiteY46" fmla="*/ 724623 h 3835942"/>
                <a:gd name="connsiteX47" fmla="*/ 655270 w 4510936"/>
                <a:gd name="connsiteY47" fmla="*/ 687278 h 3835942"/>
                <a:gd name="connsiteX48" fmla="*/ 663127 w 4510936"/>
                <a:gd name="connsiteY48" fmla="*/ 661967 h 3835942"/>
                <a:gd name="connsiteX49" fmla="*/ 1282159 w 4510936"/>
                <a:gd name="connsiteY49" fmla="*/ 251645 h 3835942"/>
                <a:gd name="connsiteX50" fmla="*/ 1417556 w 4510936"/>
                <a:gd name="connsiteY50" fmla="*/ 265294 h 3835942"/>
                <a:gd name="connsiteX51" fmla="*/ 1421411 w 4510936"/>
                <a:gd name="connsiteY51" fmla="*/ 266491 h 3835942"/>
                <a:gd name="connsiteX52" fmla="*/ 1478933 w 4510936"/>
                <a:gd name="connsiteY52" fmla="*/ 196773 h 3835942"/>
                <a:gd name="connsiteX53" fmla="*/ 1953986 w 4510936"/>
                <a:gd name="connsiteY5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218542 w 4510936"/>
                <a:gd name="connsiteY26" fmla="*/ 617399 h 3835942"/>
                <a:gd name="connsiteX27" fmla="*/ 2715985 w 4510936"/>
                <a:gd name="connsiteY27" fmla="*/ 947598 h 3835942"/>
                <a:gd name="connsiteX28" fmla="*/ 1948542 w 4510936"/>
                <a:gd name="connsiteY28" fmla="*/ 925827 h 3835942"/>
                <a:gd name="connsiteX29" fmla="*/ 2062843 w 4510936"/>
                <a:gd name="connsiteY29" fmla="*/ 403313 h 3835942"/>
                <a:gd name="connsiteX30" fmla="*/ 1816101 w 4510936"/>
                <a:gd name="connsiteY30" fmla="*/ 780685 h 3835942"/>
                <a:gd name="connsiteX31" fmla="*/ 1455057 w 4510936"/>
                <a:gd name="connsiteY31" fmla="*/ 898614 h 3835942"/>
                <a:gd name="connsiteX32" fmla="*/ 1556657 w 4510936"/>
                <a:gd name="connsiteY32" fmla="*/ 2852599 h 3835942"/>
                <a:gd name="connsiteX33" fmla="*/ 1580115 w 4510936"/>
                <a:gd name="connsiteY33" fmla="*/ 3729193 h 3835942"/>
                <a:gd name="connsiteX34" fmla="*/ 1581642 w 4510936"/>
                <a:gd name="connsiteY34" fmla="*/ 3835942 h 3835942"/>
                <a:gd name="connsiteX35" fmla="*/ 1113971 w 4510936"/>
                <a:gd name="connsiteY35" fmla="*/ 3835942 h 3835942"/>
                <a:gd name="connsiteX36" fmla="*/ 836413 w 4510936"/>
                <a:gd name="connsiteY36" fmla="*/ 3086585 h 3835942"/>
                <a:gd name="connsiteX37" fmla="*/ 116170 w 4510936"/>
                <a:gd name="connsiteY37" fmla="*/ 2308285 h 3835942"/>
                <a:gd name="connsiteX38" fmla="*/ 118297 w 4510936"/>
                <a:gd name="connsiteY38" fmla="*/ 2287181 h 3835942"/>
                <a:gd name="connsiteX39" fmla="*/ 98842 w 4510936"/>
                <a:gd name="connsiteY39" fmla="*/ 2263602 h 3835942"/>
                <a:gd name="connsiteX40" fmla="*/ 0 w 4510936"/>
                <a:gd name="connsiteY40" fmla="*/ 1940013 h 3835942"/>
                <a:gd name="connsiteX41" fmla="*/ 98842 w 4510936"/>
                <a:gd name="connsiteY41" fmla="*/ 1616424 h 3835942"/>
                <a:gd name="connsiteX42" fmla="*/ 158494 w 4510936"/>
                <a:gd name="connsiteY42" fmla="*/ 1544125 h 3835942"/>
                <a:gd name="connsiteX43" fmla="*/ 138294 w 4510936"/>
                <a:gd name="connsiteY43" fmla="*/ 1479051 h 3835942"/>
                <a:gd name="connsiteX44" fmla="*/ 124645 w 4510936"/>
                <a:gd name="connsiteY44" fmla="*/ 1343654 h 3835942"/>
                <a:gd name="connsiteX45" fmla="*/ 534966 w 4510936"/>
                <a:gd name="connsiteY45" fmla="*/ 724623 h 3835942"/>
                <a:gd name="connsiteX46" fmla="*/ 655270 w 4510936"/>
                <a:gd name="connsiteY46" fmla="*/ 687278 h 3835942"/>
                <a:gd name="connsiteX47" fmla="*/ 663127 w 4510936"/>
                <a:gd name="connsiteY47" fmla="*/ 661967 h 3835942"/>
                <a:gd name="connsiteX48" fmla="*/ 1282159 w 4510936"/>
                <a:gd name="connsiteY48" fmla="*/ 251645 h 3835942"/>
                <a:gd name="connsiteX49" fmla="*/ 1417556 w 4510936"/>
                <a:gd name="connsiteY49" fmla="*/ 265294 h 3835942"/>
                <a:gd name="connsiteX50" fmla="*/ 1421411 w 4510936"/>
                <a:gd name="connsiteY50" fmla="*/ 266491 h 3835942"/>
                <a:gd name="connsiteX51" fmla="*/ 1478933 w 4510936"/>
                <a:gd name="connsiteY51" fmla="*/ 196773 h 3835942"/>
                <a:gd name="connsiteX52" fmla="*/ 1953986 w 4510936"/>
                <a:gd name="connsiteY5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715985 w 4510936"/>
                <a:gd name="connsiteY26" fmla="*/ 947598 h 3835942"/>
                <a:gd name="connsiteX27" fmla="*/ 1948542 w 4510936"/>
                <a:gd name="connsiteY27" fmla="*/ 925827 h 3835942"/>
                <a:gd name="connsiteX28" fmla="*/ 2062843 w 4510936"/>
                <a:gd name="connsiteY28" fmla="*/ 403313 h 3835942"/>
                <a:gd name="connsiteX29" fmla="*/ 1816101 w 4510936"/>
                <a:gd name="connsiteY29" fmla="*/ 780685 h 3835942"/>
                <a:gd name="connsiteX30" fmla="*/ 1455057 w 4510936"/>
                <a:gd name="connsiteY30" fmla="*/ 898614 h 3835942"/>
                <a:gd name="connsiteX31" fmla="*/ 1556657 w 4510936"/>
                <a:gd name="connsiteY31" fmla="*/ 2852599 h 3835942"/>
                <a:gd name="connsiteX32" fmla="*/ 1580115 w 4510936"/>
                <a:gd name="connsiteY32" fmla="*/ 3729193 h 3835942"/>
                <a:gd name="connsiteX33" fmla="*/ 1581642 w 4510936"/>
                <a:gd name="connsiteY33" fmla="*/ 3835942 h 3835942"/>
                <a:gd name="connsiteX34" fmla="*/ 1113971 w 4510936"/>
                <a:gd name="connsiteY34" fmla="*/ 3835942 h 3835942"/>
                <a:gd name="connsiteX35" fmla="*/ 836413 w 4510936"/>
                <a:gd name="connsiteY35" fmla="*/ 3086585 h 3835942"/>
                <a:gd name="connsiteX36" fmla="*/ 116170 w 4510936"/>
                <a:gd name="connsiteY36" fmla="*/ 2308285 h 3835942"/>
                <a:gd name="connsiteX37" fmla="*/ 118297 w 4510936"/>
                <a:gd name="connsiteY37" fmla="*/ 2287181 h 3835942"/>
                <a:gd name="connsiteX38" fmla="*/ 98842 w 4510936"/>
                <a:gd name="connsiteY38" fmla="*/ 2263602 h 3835942"/>
                <a:gd name="connsiteX39" fmla="*/ 0 w 4510936"/>
                <a:gd name="connsiteY39" fmla="*/ 1940013 h 3835942"/>
                <a:gd name="connsiteX40" fmla="*/ 98842 w 4510936"/>
                <a:gd name="connsiteY40" fmla="*/ 1616424 h 3835942"/>
                <a:gd name="connsiteX41" fmla="*/ 158494 w 4510936"/>
                <a:gd name="connsiteY41" fmla="*/ 1544125 h 3835942"/>
                <a:gd name="connsiteX42" fmla="*/ 138294 w 4510936"/>
                <a:gd name="connsiteY42" fmla="*/ 1479051 h 3835942"/>
                <a:gd name="connsiteX43" fmla="*/ 124645 w 4510936"/>
                <a:gd name="connsiteY43" fmla="*/ 1343654 h 3835942"/>
                <a:gd name="connsiteX44" fmla="*/ 534966 w 4510936"/>
                <a:gd name="connsiteY44" fmla="*/ 724623 h 3835942"/>
                <a:gd name="connsiteX45" fmla="*/ 655270 w 4510936"/>
                <a:gd name="connsiteY45" fmla="*/ 687278 h 3835942"/>
                <a:gd name="connsiteX46" fmla="*/ 663127 w 4510936"/>
                <a:gd name="connsiteY46" fmla="*/ 661967 h 3835942"/>
                <a:gd name="connsiteX47" fmla="*/ 1282159 w 4510936"/>
                <a:gd name="connsiteY47" fmla="*/ 251645 h 3835942"/>
                <a:gd name="connsiteX48" fmla="*/ 1417556 w 4510936"/>
                <a:gd name="connsiteY48" fmla="*/ 265294 h 3835942"/>
                <a:gd name="connsiteX49" fmla="*/ 1421411 w 4510936"/>
                <a:gd name="connsiteY49" fmla="*/ 266491 h 3835942"/>
                <a:gd name="connsiteX50" fmla="*/ 1478933 w 4510936"/>
                <a:gd name="connsiteY50" fmla="*/ 196773 h 3835942"/>
                <a:gd name="connsiteX51" fmla="*/ 1953986 w 4510936"/>
                <a:gd name="connsiteY5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948542 w 4510936"/>
                <a:gd name="connsiteY26" fmla="*/ 925827 h 3835942"/>
                <a:gd name="connsiteX27" fmla="*/ 2062843 w 4510936"/>
                <a:gd name="connsiteY27" fmla="*/ 403313 h 3835942"/>
                <a:gd name="connsiteX28" fmla="*/ 1816101 w 4510936"/>
                <a:gd name="connsiteY28" fmla="*/ 780685 h 3835942"/>
                <a:gd name="connsiteX29" fmla="*/ 1455057 w 4510936"/>
                <a:gd name="connsiteY29" fmla="*/ 898614 h 3835942"/>
                <a:gd name="connsiteX30" fmla="*/ 1556657 w 4510936"/>
                <a:gd name="connsiteY30" fmla="*/ 2852599 h 3835942"/>
                <a:gd name="connsiteX31" fmla="*/ 1580115 w 4510936"/>
                <a:gd name="connsiteY31" fmla="*/ 3729193 h 3835942"/>
                <a:gd name="connsiteX32" fmla="*/ 1581642 w 4510936"/>
                <a:gd name="connsiteY32" fmla="*/ 3835942 h 3835942"/>
                <a:gd name="connsiteX33" fmla="*/ 1113971 w 4510936"/>
                <a:gd name="connsiteY33" fmla="*/ 3835942 h 3835942"/>
                <a:gd name="connsiteX34" fmla="*/ 836413 w 4510936"/>
                <a:gd name="connsiteY34" fmla="*/ 3086585 h 3835942"/>
                <a:gd name="connsiteX35" fmla="*/ 116170 w 4510936"/>
                <a:gd name="connsiteY35" fmla="*/ 2308285 h 3835942"/>
                <a:gd name="connsiteX36" fmla="*/ 118297 w 4510936"/>
                <a:gd name="connsiteY36" fmla="*/ 2287181 h 3835942"/>
                <a:gd name="connsiteX37" fmla="*/ 98842 w 4510936"/>
                <a:gd name="connsiteY37" fmla="*/ 2263602 h 3835942"/>
                <a:gd name="connsiteX38" fmla="*/ 0 w 4510936"/>
                <a:gd name="connsiteY38" fmla="*/ 1940013 h 3835942"/>
                <a:gd name="connsiteX39" fmla="*/ 98842 w 4510936"/>
                <a:gd name="connsiteY39" fmla="*/ 1616424 h 3835942"/>
                <a:gd name="connsiteX40" fmla="*/ 158494 w 4510936"/>
                <a:gd name="connsiteY40" fmla="*/ 1544125 h 3835942"/>
                <a:gd name="connsiteX41" fmla="*/ 138294 w 4510936"/>
                <a:gd name="connsiteY41" fmla="*/ 1479051 h 3835942"/>
                <a:gd name="connsiteX42" fmla="*/ 124645 w 4510936"/>
                <a:gd name="connsiteY42" fmla="*/ 1343654 h 3835942"/>
                <a:gd name="connsiteX43" fmla="*/ 534966 w 4510936"/>
                <a:gd name="connsiteY43" fmla="*/ 724623 h 3835942"/>
                <a:gd name="connsiteX44" fmla="*/ 655270 w 4510936"/>
                <a:gd name="connsiteY44" fmla="*/ 687278 h 3835942"/>
                <a:gd name="connsiteX45" fmla="*/ 663127 w 4510936"/>
                <a:gd name="connsiteY45" fmla="*/ 661967 h 3835942"/>
                <a:gd name="connsiteX46" fmla="*/ 1282159 w 4510936"/>
                <a:gd name="connsiteY46" fmla="*/ 251645 h 3835942"/>
                <a:gd name="connsiteX47" fmla="*/ 1417556 w 4510936"/>
                <a:gd name="connsiteY47" fmla="*/ 265294 h 3835942"/>
                <a:gd name="connsiteX48" fmla="*/ 1421411 w 4510936"/>
                <a:gd name="connsiteY48" fmla="*/ 266491 h 3835942"/>
                <a:gd name="connsiteX49" fmla="*/ 1478933 w 4510936"/>
                <a:gd name="connsiteY49" fmla="*/ 196773 h 3835942"/>
                <a:gd name="connsiteX50" fmla="*/ 1953986 w 4510936"/>
                <a:gd name="connsiteY5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062843 w 4510936"/>
                <a:gd name="connsiteY26" fmla="*/ 403313 h 3835942"/>
                <a:gd name="connsiteX27" fmla="*/ 1816101 w 4510936"/>
                <a:gd name="connsiteY27" fmla="*/ 780685 h 3835942"/>
                <a:gd name="connsiteX28" fmla="*/ 1455057 w 4510936"/>
                <a:gd name="connsiteY28" fmla="*/ 898614 h 3835942"/>
                <a:gd name="connsiteX29" fmla="*/ 1556657 w 4510936"/>
                <a:gd name="connsiteY29" fmla="*/ 2852599 h 3835942"/>
                <a:gd name="connsiteX30" fmla="*/ 1580115 w 4510936"/>
                <a:gd name="connsiteY30" fmla="*/ 3729193 h 3835942"/>
                <a:gd name="connsiteX31" fmla="*/ 1581642 w 4510936"/>
                <a:gd name="connsiteY31" fmla="*/ 3835942 h 3835942"/>
                <a:gd name="connsiteX32" fmla="*/ 1113971 w 4510936"/>
                <a:gd name="connsiteY32" fmla="*/ 3835942 h 3835942"/>
                <a:gd name="connsiteX33" fmla="*/ 836413 w 4510936"/>
                <a:gd name="connsiteY33" fmla="*/ 3086585 h 3835942"/>
                <a:gd name="connsiteX34" fmla="*/ 116170 w 4510936"/>
                <a:gd name="connsiteY34" fmla="*/ 2308285 h 3835942"/>
                <a:gd name="connsiteX35" fmla="*/ 118297 w 4510936"/>
                <a:gd name="connsiteY35" fmla="*/ 2287181 h 3835942"/>
                <a:gd name="connsiteX36" fmla="*/ 98842 w 4510936"/>
                <a:gd name="connsiteY36" fmla="*/ 2263602 h 3835942"/>
                <a:gd name="connsiteX37" fmla="*/ 0 w 4510936"/>
                <a:gd name="connsiteY37" fmla="*/ 1940013 h 3835942"/>
                <a:gd name="connsiteX38" fmla="*/ 98842 w 4510936"/>
                <a:gd name="connsiteY38" fmla="*/ 1616424 h 3835942"/>
                <a:gd name="connsiteX39" fmla="*/ 158494 w 4510936"/>
                <a:gd name="connsiteY39" fmla="*/ 1544125 h 3835942"/>
                <a:gd name="connsiteX40" fmla="*/ 138294 w 4510936"/>
                <a:gd name="connsiteY40" fmla="*/ 1479051 h 3835942"/>
                <a:gd name="connsiteX41" fmla="*/ 124645 w 4510936"/>
                <a:gd name="connsiteY41" fmla="*/ 1343654 h 3835942"/>
                <a:gd name="connsiteX42" fmla="*/ 534966 w 4510936"/>
                <a:gd name="connsiteY42" fmla="*/ 724623 h 3835942"/>
                <a:gd name="connsiteX43" fmla="*/ 655270 w 4510936"/>
                <a:gd name="connsiteY43" fmla="*/ 687278 h 3835942"/>
                <a:gd name="connsiteX44" fmla="*/ 663127 w 4510936"/>
                <a:gd name="connsiteY44" fmla="*/ 661967 h 3835942"/>
                <a:gd name="connsiteX45" fmla="*/ 1282159 w 4510936"/>
                <a:gd name="connsiteY45" fmla="*/ 251645 h 3835942"/>
                <a:gd name="connsiteX46" fmla="*/ 1417556 w 4510936"/>
                <a:gd name="connsiteY46" fmla="*/ 265294 h 3835942"/>
                <a:gd name="connsiteX47" fmla="*/ 1421411 w 4510936"/>
                <a:gd name="connsiteY47" fmla="*/ 266491 h 3835942"/>
                <a:gd name="connsiteX48" fmla="*/ 1478933 w 4510936"/>
                <a:gd name="connsiteY48" fmla="*/ 196773 h 3835942"/>
                <a:gd name="connsiteX49" fmla="*/ 1953986 w 4510936"/>
                <a:gd name="connsiteY4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816101 w 4510936"/>
                <a:gd name="connsiteY26" fmla="*/ 780685 h 3835942"/>
                <a:gd name="connsiteX27" fmla="*/ 1455057 w 4510936"/>
                <a:gd name="connsiteY27" fmla="*/ 898614 h 3835942"/>
                <a:gd name="connsiteX28" fmla="*/ 1556657 w 4510936"/>
                <a:gd name="connsiteY28" fmla="*/ 2852599 h 3835942"/>
                <a:gd name="connsiteX29" fmla="*/ 1580115 w 4510936"/>
                <a:gd name="connsiteY29" fmla="*/ 3729193 h 3835942"/>
                <a:gd name="connsiteX30" fmla="*/ 1581642 w 4510936"/>
                <a:gd name="connsiteY30" fmla="*/ 3835942 h 3835942"/>
                <a:gd name="connsiteX31" fmla="*/ 1113971 w 4510936"/>
                <a:gd name="connsiteY31" fmla="*/ 3835942 h 3835942"/>
                <a:gd name="connsiteX32" fmla="*/ 836413 w 4510936"/>
                <a:gd name="connsiteY32" fmla="*/ 3086585 h 3835942"/>
                <a:gd name="connsiteX33" fmla="*/ 116170 w 4510936"/>
                <a:gd name="connsiteY33" fmla="*/ 2308285 h 3835942"/>
                <a:gd name="connsiteX34" fmla="*/ 118297 w 4510936"/>
                <a:gd name="connsiteY34" fmla="*/ 2287181 h 3835942"/>
                <a:gd name="connsiteX35" fmla="*/ 98842 w 4510936"/>
                <a:gd name="connsiteY35" fmla="*/ 2263602 h 3835942"/>
                <a:gd name="connsiteX36" fmla="*/ 0 w 4510936"/>
                <a:gd name="connsiteY36" fmla="*/ 1940013 h 3835942"/>
                <a:gd name="connsiteX37" fmla="*/ 98842 w 4510936"/>
                <a:gd name="connsiteY37" fmla="*/ 1616424 h 3835942"/>
                <a:gd name="connsiteX38" fmla="*/ 158494 w 4510936"/>
                <a:gd name="connsiteY38" fmla="*/ 1544125 h 3835942"/>
                <a:gd name="connsiteX39" fmla="*/ 138294 w 4510936"/>
                <a:gd name="connsiteY39" fmla="*/ 1479051 h 3835942"/>
                <a:gd name="connsiteX40" fmla="*/ 124645 w 4510936"/>
                <a:gd name="connsiteY40" fmla="*/ 1343654 h 3835942"/>
                <a:gd name="connsiteX41" fmla="*/ 534966 w 4510936"/>
                <a:gd name="connsiteY41" fmla="*/ 724623 h 3835942"/>
                <a:gd name="connsiteX42" fmla="*/ 655270 w 4510936"/>
                <a:gd name="connsiteY42" fmla="*/ 687278 h 3835942"/>
                <a:gd name="connsiteX43" fmla="*/ 663127 w 4510936"/>
                <a:gd name="connsiteY43" fmla="*/ 661967 h 3835942"/>
                <a:gd name="connsiteX44" fmla="*/ 1282159 w 4510936"/>
                <a:gd name="connsiteY44" fmla="*/ 251645 h 3835942"/>
                <a:gd name="connsiteX45" fmla="*/ 1417556 w 4510936"/>
                <a:gd name="connsiteY45" fmla="*/ 265294 h 3835942"/>
                <a:gd name="connsiteX46" fmla="*/ 1421411 w 4510936"/>
                <a:gd name="connsiteY46" fmla="*/ 266491 h 3835942"/>
                <a:gd name="connsiteX47" fmla="*/ 1478933 w 4510936"/>
                <a:gd name="connsiteY47" fmla="*/ 196773 h 3835942"/>
                <a:gd name="connsiteX48" fmla="*/ 1953986 w 4510936"/>
                <a:gd name="connsiteY4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455057 w 4510936"/>
                <a:gd name="connsiteY26" fmla="*/ 898614 h 3835942"/>
                <a:gd name="connsiteX27" fmla="*/ 1556657 w 4510936"/>
                <a:gd name="connsiteY27" fmla="*/ 2852599 h 3835942"/>
                <a:gd name="connsiteX28" fmla="*/ 1580115 w 4510936"/>
                <a:gd name="connsiteY28" fmla="*/ 3729193 h 3835942"/>
                <a:gd name="connsiteX29" fmla="*/ 1581642 w 4510936"/>
                <a:gd name="connsiteY29" fmla="*/ 3835942 h 3835942"/>
                <a:gd name="connsiteX30" fmla="*/ 1113971 w 4510936"/>
                <a:gd name="connsiteY30" fmla="*/ 3835942 h 3835942"/>
                <a:gd name="connsiteX31" fmla="*/ 836413 w 4510936"/>
                <a:gd name="connsiteY31" fmla="*/ 3086585 h 3835942"/>
                <a:gd name="connsiteX32" fmla="*/ 116170 w 4510936"/>
                <a:gd name="connsiteY32" fmla="*/ 2308285 h 3835942"/>
                <a:gd name="connsiteX33" fmla="*/ 118297 w 4510936"/>
                <a:gd name="connsiteY33" fmla="*/ 2287181 h 3835942"/>
                <a:gd name="connsiteX34" fmla="*/ 98842 w 4510936"/>
                <a:gd name="connsiteY34" fmla="*/ 2263602 h 3835942"/>
                <a:gd name="connsiteX35" fmla="*/ 0 w 4510936"/>
                <a:gd name="connsiteY35" fmla="*/ 1940013 h 3835942"/>
                <a:gd name="connsiteX36" fmla="*/ 98842 w 4510936"/>
                <a:gd name="connsiteY36" fmla="*/ 1616424 h 3835942"/>
                <a:gd name="connsiteX37" fmla="*/ 158494 w 4510936"/>
                <a:gd name="connsiteY37" fmla="*/ 1544125 h 3835942"/>
                <a:gd name="connsiteX38" fmla="*/ 138294 w 4510936"/>
                <a:gd name="connsiteY38" fmla="*/ 1479051 h 3835942"/>
                <a:gd name="connsiteX39" fmla="*/ 124645 w 4510936"/>
                <a:gd name="connsiteY39" fmla="*/ 1343654 h 3835942"/>
                <a:gd name="connsiteX40" fmla="*/ 534966 w 4510936"/>
                <a:gd name="connsiteY40" fmla="*/ 724623 h 3835942"/>
                <a:gd name="connsiteX41" fmla="*/ 655270 w 4510936"/>
                <a:gd name="connsiteY41" fmla="*/ 687278 h 3835942"/>
                <a:gd name="connsiteX42" fmla="*/ 663127 w 4510936"/>
                <a:gd name="connsiteY42" fmla="*/ 661967 h 3835942"/>
                <a:gd name="connsiteX43" fmla="*/ 1282159 w 4510936"/>
                <a:gd name="connsiteY43" fmla="*/ 251645 h 3835942"/>
                <a:gd name="connsiteX44" fmla="*/ 1417556 w 4510936"/>
                <a:gd name="connsiteY44" fmla="*/ 265294 h 3835942"/>
                <a:gd name="connsiteX45" fmla="*/ 1421411 w 4510936"/>
                <a:gd name="connsiteY45" fmla="*/ 266491 h 3835942"/>
                <a:gd name="connsiteX46" fmla="*/ 1478933 w 4510936"/>
                <a:gd name="connsiteY46" fmla="*/ 196773 h 3835942"/>
                <a:gd name="connsiteX47" fmla="*/ 1953986 w 4510936"/>
                <a:gd name="connsiteY4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556657 w 4510936"/>
                <a:gd name="connsiteY26" fmla="*/ 2852599 h 3835942"/>
                <a:gd name="connsiteX27" fmla="*/ 1580115 w 4510936"/>
                <a:gd name="connsiteY27" fmla="*/ 3729193 h 3835942"/>
                <a:gd name="connsiteX28" fmla="*/ 1581642 w 4510936"/>
                <a:gd name="connsiteY28" fmla="*/ 3835942 h 3835942"/>
                <a:gd name="connsiteX29" fmla="*/ 1113971 w 4510936"/>
                <a:gd name="connsiteY29" fmla="*/ 3835942 h 3835942"/>
                <a:gd name="connsiteX30" fmla="*/ 836413 w 4510936"/>
                <a:gd name="connsiteY30" fmla="*/ 3086585 h 3835942"/>
                <a:gd name="connsiteX31" fmla="*/ 116170 w 4510936"/>
                <a:gd name="connsiteY31" fmla="*/ 2308285 h 3835942"/>
                <a:gd name="connsiteX32" fmla="*/ 118297 w 4510936"/>
                <a:gd name="connsiteY32" fmla="*/ 2287181 h 3835942"/>
                <a:gd name="connsiteX33" fmla="*/ 98842 w 4510936"/>
                <a:gd name="connsiteY33" fmla="*/ 2263602 h 3835942"/>
                <a:gd name="connsiteX34" fmla="*/ 0 w 4510936"/>
                <a:gd name="connsiteY34" fmla="*/ 1940013 h 3835942"/>
                <a:gd name="connsiteX35" fmla="*/ 98842 w 4510936"/>
                <a:gd name="connsiteY35" fmla="*/ 1616424 h 3835942"/>
                <a:gd name="connsiteX36" fmla="*/ 158494 w 4510936"/>
                <a:gd name="connsiteY36" fmla="*/ 1544125 h 3835942"/>
                <a:gd name="connsiteX37" fmla="*/ 138294 w 4510936"/>
                <a:gd name="connsiteY37" fmla="*/ 1479051 h 3835942"/>
                <a:gd name="connsiteX38" fmla="*/ 124645 w 4510936"/>
                <a:gd name="connsiteY38" fmla="*/ 1343654 h 3835942"/>
                <a:gd name="connsiteX39" fmla="*/ 534966 w 4510936"/>
                <a:gd name="connsiteY39" fmla="*/ 724623 h 3835942"/>
                <a:gd name="connsiteX40" fmla="*/ 655270 w 4510936"/>
                <a:gd name="connsiteY40" fmla="*/ 687278 h 3835942"/>
                <a:gd name="connsiteX41" fmla="*/ 663127 w 4510936"/>
                <a:gd name="connsiteY41" fmla="*/ 661967 h 3835942"/>
                <a:gd name="connsiteX42" fmla="*/ 1282159 w 4510936"/>
                <a:gd name="connsiteY42" fmla="*/ 251645 h 3835942"/>
                <a:gd name="connsiteX43" fmla="*/ 1417556 w 4510936"/>
                <a:gd name="connsiteY43" fmla="*/ 265294 h 3835942"/>
                <a:gd name="connsiteX44" fmla="*/ 1421411 w 4510936"/>
                <a:gd name="connsiteY44" fmla="*/ 266491 h 3835942"/>
                <a:gd name="connsiteX45" fmla="*/ 1478933 w 4510936"/>
                <a:gd name="connsiteY45" fmla="*/ 196773 h 3835942"/>
                <a:gd name="connsiteX46" fmla="*/ 1953986 w 4510936"/>
                <a:gd name="connsiteY4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1556657 w 4510936"/>
                <a:gd name="connsiteY25" fmla="*/ 2852599 h 3835942"/>
                <a:gd name="connsiteX26" fmla="*/ 1580115 w 4510936"/>
                <a:gd name="connsiteY26" fmla="*/ 3729193 h 3835942"/>
                <a:gd name="connsiteX27" fmla="*/ 1581642 w 4510936"/>
                <a:gd name="connsiteY27" fmla="*/ 3835942 h 3835942"/>
                <a:gd name="connsiteX28" fmla="*/ 1113971 w 4510936"/>
                <a:gd name="connsiteY28" fmla="*/ 3835942 h 3835942"/>
                <a:gd name="connsiteX29" fmla="*/ 836413 w 4510936"/>
                <a:gd name="connsiteY29" fmla="*/ 3086585 h 3835942"/>
                <a:gd name="connsiteX30" fmla="*/ 116170 w 4510936"/>
                <a:gd name="connsiteY30" fmla="*/ 2308285 h 3835942"/>
                <a:gd name="connsiteX31" fmla="*/ 118297 w 4510936"/>
                <a:gd name="connsiteY31" fmla="*/ 2287181 h 3835942"/>
                <a:gd name="connsiteX32" fmla="*/ 98842 w 4510936"/>
                <a:gd name="connsiteY32" fmla="*/ 2263602 h 3835942"/>
                <a:gd name="connsiteX33" fmla="*/ 0 w 4510936"/>
                <a:gd name="connsiteY33" fmla="*/ 1940013 h 3835942"/>
                <a:gd name="connsiteX34" fmla="*/ 98842 w 4510936"/>
                <a:gd name="connsiteY34" fmla="*/ 1616424 h 3835942"/>
                <a:gd name="connsiteX35" fmla="*/ 158494 w 4510936"/>
                <a:gd name="connsiteY35" fmla="*/ 1544125 h 3835942"/>
                <a:gd name="connsiteX36" fmla="*/ 138294 w 4510936"/>
                <a:gd name="connsiteY36" fmla="*/ 1479051 h 3835942"/>
                <a:gd name="connsiteX37" fmla="*/ 124645 w 4510936"/>
                <a:gd name="connsiteY37" fmla="*/ 1343654 h 3835942"/>
                <a:gd name="connsiteX38" fmla="*/ 534966 w 4510936"/>
                <a:gd name="connsiteY38" fmla="*/ 724623 h 3835942"/>
                <a:gd name="connsiteX39" fmla="*/ 655270 w 4510936"/>
                <a:gd name="connsiteY39" fmla="*/ 687278 h 3835942"/>
                <a:gd name="connsiteX40" fmla="*/ 663127 w 4510936"/>
                <a:gd name="connsiteY40" fmla="*/ 661967 h 3835942"/>
                <a:gd name="connsiteX41" fmla="*/ 1282159 w 4510936"/>
                <a:gd name="connsiteY41" fmla="*/ 251645 h 3835942"/>
                <a:gd name="connsiteX42" fmla="*/ 1417556 w 4510936"/>
                <a:gd name="connsiteY42" fmla="*/ 265294 h 3835942"/>
                <a:gd name="connsiteX43" fmla="*/ 1421411 w 4510936"/>
                <a:gd name="connsiteY43" fmla="*/ 266491 h 3835942"/>
                <a:gd name="connsiteX44" fmla="*/ 1478933 w 4510936"/>
                <a:gd name="connsiteY44" fmla="*/ 196773 h 3835942"/>
                <a:gd name="connsiteX45" fmla="*/ 1953986 w 4510936"/>
                <a:gd name="connsiteY4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850570 w 4510936"/>
                <a:gd name="connsiteY22" fmla="*/ 2130513 h 3835942"/>
                <a:gd name="connsiteX23" fmla="*/ 2148114 w 4510936"/>
                <a:gd name="connsiteY23" fmla="*/ 1901913 h 3835942"/>
                <a:gd name="connsiteX24" fmla="*/ 1556657 w 4510936"/>
                <a:gd name="connsiteY24" fmla="*/ 2852599 h 3835942"/>
                <a:gd name="connsiteX25" fmla="*/ 1580115 w 4510936"/>
                <a:gd name="connsiteY25" fmla="*/ 3729193 h 3835942"/>
                <a:gd name="connsiteX26" fmla="*/ 1581642 w 4510936"/>
                <a:gd name="connsiteY26" fmla="*/ 3835942 h 3835942"/>
                <a:gd name="connsiteX27" fmla="*/ 1113971 w 4510936"/>
                <a:gd name="connsiteY27" fmla="*/ 3835942 h 3835942"/>
                <a:gd name="connsiteX28" fmla="*/ 836413 w 4510936"/>
                <a:gd name="connsiteY28" fmla="*/ 3086585 h 3835942"/>
                <a:gd name="connsiteX29" fmla="*/ 116170 w 4510936"/>
                <a:gd name="connsiteY29" fmla="*/ 2308285 h 3835942"/>
                <a:gd name="connsiteX30" fmla="*/ 118297 w 4510936"/>
                <a:gd name="connsiteY30" fmla="*/ 2287181 h 3835942"/>
                <a:gd name="connsiteX31" fmla="*/ 98842 w 4510936"/>
                <a:gd name="connsiteY31" fmla="*/ 2263602 h 3835942"/>
                <a:gd name="connsiteX32" fmla="*/ 0 w 4510936"/>
                <a:gd name="connsiteY32" fmla="*/ 1940013 h 3835942"/>
                <a:gd name="connsiteX33" fmla="*/ 98842 w 4510936"/>
                <a:gd name="connsiteY33" fmla="*/ 1616424 h 3835942"/>
                <a:gd name="connsiteX34" fmla="*/ 158494 w 4510936"/>
                <a:gd name="connsiteY34" fmla="*/ 1544125 h 3835942"/>
                <a:gd name="connsiteX35" fmla="*/ 138294 w 4510936"/>
                <a:gd name="connsiteY35" fmla="*/ 1479051 h 3835942"/>
                <a:gd name="connsiteX36" fmla="*/ 124645 w 4510936"/>
                <a:gd name="connsiteY36" fmla="*/ 1343654 h 3835942"/>
                <a:gd name="connsiteX37" fmla="*/ 534966 w 4510936"/>
                <a:gd name="connsiteY37" fmla="*/ 724623 h 3835942"/>
                <a:gd name="connsiteX38" fmla="*/ 655270 w 4510936"/>
                <a:gd name="connsiteY38" fmla="*/ 687278 h 3835942"/>
                <a:gd name="connsiteX39" fmla="*/ 663127 w 4510936"/>
                <a:gd name="connsiteY39" fmla="*/ 661967 h 3835942"/>
                <a:gd name="connsiteX40" fmla="*/ 1282159 w 4510936"/>
                <a:gd name="connsiteY40" fmla="*/ 251645 h 3835942"/>
                <a:gd name="connsiteX41" fmla="*/ 1417556 w 4510936"/>
                <a:gd name="connsiteY41" fmla="*/ 265294 h 3835942"/>
                <a:gd name="connsiteX42" fmla="*/ 1421411 w 4510936"/>
                <a:gd name="connsiteY42" fmla="*/ 266491 h 3835942"/>
                <a:gd name="connsiteX43" fmla="*/ 1478933 w 4510936"/>
                <a:gd name="connsiteY43" fmla="*/ 196773 h 3835942"/>
                <a:gd name="connsiteX44" fmla="*/ 1953986 w 4510936"/>
                <a:gd name="connsiteY4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850570 w 4510936"/>
                <a:gd name="connsiteY21" fmla="*/ 2130513 h 3835942"/>
                <a:gd name="connsiteX22" fmla="*/ 2148114 w 4510936"/>
                <a:gd name="connsiteY22" fmla="*/ 1901913 h 3835942"/>
                <a:gd name="connsiteX23" fmla="*/ 1556657 w 4510936"/>
                <a:gd name="connsiteY23" fmla="*/ 2852599 h 3835942"/>
                <a:gd name="connsiteX24" fmla="*/ 1580115 w 4510936"/>
                <a:gd name="connsiteY24" fmla="*/ 3729193 h 3835942"/>
                <a:gd name="connsiteX25" fmla="*/ 1581642 w 4510936"/>
                <a:gd name="connsiteY25" fmla="*/ 3835942 h 3835942"/>
                <a:gd name="connsiteX26" fmla="*/ 1113971 w 4510936"/>
                <a:gd name="connsiteY26" fmla="*/ 3835942 h 3835942"/>
                <a:gd name="connsiteX27" fmla="*/ 836413 w 4510936"/>
                <a:gd name="connsiteY27" fmla="*/ 3086585 h 3835942"/>
                <a:gd name="connsiteX28" fmla="*/ 116170 w 4510936"/>
                <a:gd name="connsiteY28" fmla="*/ 2308285 h 3835942"/>
                <a:gd name="connsiteX29" fmla="*/ 118297 w 4510936"/>
                <a:gd name="connsiteY29" fmla="*/ 2287181 h 3835942"/>
                <a:gd name="connsiteX30" fmla="*/ 98842 w 4510936"/>
                <a:gd name="connsiteY30" fmla="*/ 2263602 h 3835942"/>
                <a:gd name="connsiteX31" fmla="*/ 0 w 4510936"/>
                <a:gd name="connsiteY31" fmla="*/ 1940013 h 3835942"/>
                <a:gd name="connsiteX32" fmla="*/ 98842 w 4510936"/>
                <a:gd name="connsiteY32" fmla="*/ 1616424 h 3835942"/>
                <a:gd name="connsiteX33" fmla="*/ 158494 w 4510936"/>
                <a:gd name="connsiteY33" fmla="*/ 1544125 h 3835942"/>
                <a:gd name="connsiteX34" fmla="*/ 138294 w 4510936"/>
                <a:gd name="connsiteY34" fmla="*/ 1479051 h 3835942"/>
                <a:gd name="connsiteX35" fmla="*/ 124645 w 4510936"/>
                <a:gd name="connsiteY35" fmla="*/ 1343654 h 3835942"/>
                <a:gd name="connsiteX36" fmla="*/ 534966 w 4510936"/>
                <a:gd name="connsiteY36" fmla="*/ 724623 h 3835942"/>
                <a:gd name="connsiteX37" fmla="*/ 655270 w 4510936"/>
                <a:gd name="connsiteY37" fmla="*/ 687278 h 3835942"/>
                <a:gd name="connsiteX38" fmla="*/ 663127 w 4510936"/>
                <a:gd name="connsiteY38" fmla="*/ 661967 h 3835942"/>
                <a:gd name="connsiteX39" fmla="*/ 1282159 w 4510936"/>
                <a:gd name="connsiteY39" fmla="*/ 251645 h 3835942"/>
                <a:gd name="connsiteX40" fmla="*/ 1417556 w 4510936"/>
                <a:gd name="connsiteY40" fmla="*/ 265294 h 3835942"/>
                <a:gd name="connsiteX41" fmla="*/ 1421411 w 4510936"/>
                <a:gd name="connsiteY41" fmla="*/ 266491 h 3835942"/>
                <a:gd name="connsiteX42" fmla="*/ 1478933 w 4510936"/>
                <a:gd name="connsiteY42" fmla="*/ 196773 h 3835942"/>
                <a:gd name="connsiteX43" fmla="*/ 1953986 w 4510936"/>
                <a:gd name="connsiteY4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850570 w 4510936"/>
                <a:gd name="connsiteY20" fmla="*/ 2130513 h 3835942"/>
                <a:gd name="connsiteX21" fmla="*/ 2148114 w 4510936"/>
                <a:gd name="connsiteY21" fmla="*/ 1901913 h 3835942"/>
                <a:gd name="connsiteX22" fmla="*/ 1556657 w 4510936"/>
                <a:gd name="connsiteY22" fmla="*/ 2852599 h 3835942"/>
                <a:gd name="connsiteX23" fmla="*/ 1580115 w 4510936"/>
                <a:gd name="connsiteY23" fmla="*/ 3729193 h 3835942"/>
                <a:gd name="connsiteX24" fmla="*/ 1581642 w 4510936"/>
                <a:gd name="connsiteY24" fmla="*/ 3835942 h 3835942"/>
                <a:gd name="connsiteX25" fmla="*/ 1113971 w 4510936"/>
                <a:gd name="connsiteY25" fmla="*/ 3835942 h 3835942"/>
                <a:gd name="connsiteX26" fmla="*/ 836413 w 4510936"/>
                <a:gd name="connsiteY26" fmla="*/ 3086585 h 3835942"/>
                <a:gd name="connsiteX27" fmla="*/ 116170 w 4510936"/>
                <a:gd name="connsiteY27" fmla="*/ 2308285 h 3835942"/>
                <a:gd name="connsiteX28" fmla="*/ 118297 w 4510936"/>
                <a:gd name="connsiteY28" fmla="*/ 2287181 h 3835942"/>
                <a:gd name="connsiteX29" fmla="*/ 98842 w 4510936"/>
                <a:gd name="connsiteY29" fmla="*/ 2263602 h 3835942"/>
                <a:gd name="connsiteX30" fmla="*/ 0 w 4510936"/>
                <a:gd name="connsiteY30" fmla="*/ 1940013 h 3835942"/>
                <a:gd name="connsiteX31" fmla="*/ 98842 w 4510936"/>
                <a:gd name="connsiteY31" fmla="*/ 1616424 h 3835942"/>
                <a:gd name="connsiteX32" fmla="*/ 158494 w 4510936"/>
                <a:gd name="connsiteY32" fmla="*/ 1544125 h 3835942"/>
                <a:gd name="connsiteX33" fmla="*/ 138294 w 4510936"/>
                <a:gd name="connsiteY33" fmla="*/ 1479051 h 3835942"/>
                <a:gd name="connsiteX34" fmla="*/ 124645 w 4510936"/>
                <a:gd name="connsiteY34" fmla="*/ 1343654 h 3835942"/>
                <a:gd name="connsiteX35" fmla="*/ 534966 w 4510936"/>
                <a:gd name="connsiteY35" fmla="*/ 724623 h 3835942"/>
                <a:gd name="connsiteX36" fmla="*/ 655270 w 4510936"/>
                <a:gd name="connsiteY36" fmla="*/ 687278 h 3835942"/>
                <a:gd name="connsiteX37" fmla="*/ 663127 w 4510936"/>
                <a:gd name="connsiteY37" fmla="*/ 661967 h 3835942"/>
                <a:gd name="connsiteX38" fmla="*/ 1282159 w 4510936"/>
                <a:gd name="connsiteY38" fmla="*/ 251645 h 3835942"/>
                <a:gd name="connsiteX39" fmla="*/ 1417556 w 4510936"/>
                <a:gd name="connsiteY39" fmla="*/ 265294 h 3835942"/>
                <a:gd name="connsiteX40" fmla="*/ 1421411 w 4510936"/>
                <a:gd name="connsiteY40" fmla="*/ 266491 h 3835942"/>
                <a:gd name="connsiteX41" fmla="*/ 1478933 w 4510936"/>
                <a:gd name="connsiteY41" fmla="*/ 196773 h 3835942"/>
                <a:gd name="connsiteX42" fmla="*/ 1953986 w 4510936"/>
                <a:gd name="connsiteY4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850570 w 4510936"/>
                <a:gd name="connsiteY19" fmla="*/ 2130513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33865 w 4510936"/>
                <a:gd name="connsiteY19" fmla="*/ 1977965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33865 w 4510936"/>
                <a:gd name="connsiteY18" fmla="*/ 1977965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48114 w 4510936"/>
                <a:gd name="connsiteY18" fmla="*/ 1901913 h 3835942"/>
                <a:gd name="connsiteX19" fmla="*/ 1556657 w 4510936"/>
                <a:gd name="connsiteY19" fmla="*/ 2852599 h 3835942"/>
                <a:gd name="connsiteX20" fmla="*/ 1580115 w 4510936"/>
                <a:gd name="connsiteY20" fmla="*/ 3729193 h 3835942"/>
                <a:gd name="connsiteX21" fmla="*/ 1581642 w 4510936"/>
                <a:gd name="connsiteY21" fmla="*/ 3835942 h 3835942"/>
                <a:gd name="connsiteX22" fmla="*/ 1113971 w 4510936"/>
                <a:gd name="connsiteY22" fmla="*/ 3835942 h 3835942"/>
                <a:gd name="connsiteX23" fmla="*/ 836413 w 4510936"/>
                <a:gd name="connsiteY23" fmla="*/ 3086585 h 3835942"/>
                <a:gd name="connsiteX24" fmla="*/ 116170 w 4510936"/>
                <a:gd name="connsiteY24" fmla="*/ 2308285 h 3835942"/>
                <a:gd name="connsiteX25" fmla="*/ 118297 w 4510936"/>
                <a:gd name="connsiteY25" fmla="*/ 2287181 h 3835942"/>
                <a:gd name="connsiteX26" fmla="*/ 98842 w 4510936"/>
                <a:gd name="connsiteY26" fmla="*/ 2263602 h 3835942"/>
                <a:gd name="connsiteX27" fmla="*/ 0 w 4510936"/>
                <a:gd name="connsiteY27" fmla="*/ 1940013 h 3835942"/>
                <a:gd name="connsiteX28" fmla="*/ 98842 w 4510936"/>
                <a:gd name="connsiteY28" fmla="*/ 1616424 h 3835942"/>
                <a:gd name="connsiteX29" fmla="*/ 158494 w 4510936"/>
                <a:gd name="connsiteY29" fmla="*/ 1544125 h 3835942"/>
                <a:gd name="connsiteX30" fmla="*/ 138294 w 4510936"/>
                <a:gd name="connsiteY30" fmla="*/ 1479051 h 3835942"/>
                <a:gd name="connsiteX31" fmla="*/ 124645 w 4510936"/>
                <a:gd name="connsiteY31" fmla="*/ 1343654 h 3835942"/>
                <a:gd name="connsiteX32" fmla="*/ 534966 w 4510936"/>
                <a:gd name="connsiteY32" fmla="*/ 724623 h 3835942"/>
                <a:gd name="connsiteX33" fmla="*/ 655270 w 4510936"/>
                <a:gd name="connsiteY33" fmla="*/ 687278 h 3835942"/>
                <a:gd name="connsiteX34" fmla="*/ 663127 w 4510936"/>
                <a:gd name="connsiteY34" fmla="*/ 661967 h 3835942"/>
                <a:gd name="connsiteX35" fmla="*/ 1282159 w 4510936"/>
                <a:gd name="connsiteY35" fmla="*/ 251645 h 3835942"/>
                <a:gd name="connsiteX36" fmla="*/ 1417556 w 4510936"/>
                <a:gd name="connsiteY36" fmla="*/ 265294 h 3835942"/>
                <a:gd name="connsiteX37" fmla="*/ 1421411 w 4510936"/>
                <a:gd name="connsiteY37" fmla="*/ 266491 h 3835942"/>
                <a:gd name="connsiteX38" fmla="*/ 1478933 w 4510936"/>
                <a:gd name="connsiteY38" fmla="*/ 196773 h 3835942"/>
                <a:gd name="connsiteX39" fmla="*/ 1953986 w 4510936"/>
                <a:gd name="connsiteY3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556657 w 4510936"/>
                <a:gd name="connsiteY18" fmla="*/ 2852599 h 3835942"/>
                <a:gd name="connsiteX19" fmla="*/ 1580115 w 4510936"/>
                <a:gd name="connsiteY19" fmla="*/ 3729193 h 3835942"/>
                <a:gd name="connsiteX20" fmla="*/ 1581642 w 4510936"/>
                <a:gd name="connsiteY20" fmla="*/ 3835942 h 3835942"/>
                <a:gd name="connsiteX21" fmla="*/ 1113971 w 4510936"/>
                <a:gd name="connsiteY21" fmla="*/ 3835942 h 3835942"/>
                <a:gd name="connsiteX22" fmla="*/ 836413 w 4510936"/>
                <a:gd name="connsiteY22" fmla="*/ 3086585 h 3835942"/>
                <a:gd name="connsiteX23" fmla="*/ 116170 w 4510936"/>
                <a:gd name="connsiteY23" fmla="*/ 2308285 h 3835942"/>
                <a:gd name="connsiteX24" fmla="*/ 118297 w 4510936"/>
                <a:gd name="connsiteY24" fmla="*/ 2287181 h 3835942"/>
                <a:gd name="connsiteX25" fmla="*/ 98842 w 4510936"/>
                <a:gd name="connsiteY25" fmla="*/ 2263602 h 3835942"/>
                <a:gd name="connsiteX26" fmla="*/ 0 w 4510936"/>
                <a:gd name="connsiteY26" fmla="*/ 1940013 h 3835942"/>
                <a:gd name="connsiteX27" fmla="*/ 98842 w 4510936"/>
                <a:gd name="connsiteY27" fmla="*/ 1616424 h 3835942"/>
                <a:gd name="connsiteX28" fmla="*/ 158494 w 4510936"/>
                <a:gd name="connsiteY28" fmla="*/ 1544125 h 3835942"/>
                <a:gd name="connsiteX29" fmla="*/ 138294 w 4510936"/>
                <a:gd name="connsiteY29" fmla="*/ 1479051 h 3835942"/>
                <a:gd name="connsiteX30" fmla="*/ 124645 w 4510936"/>
                <a:gd name="connsiteY30" fmla="*/ 1343654 h 3835942"/>
                <a:gd name="connsiteX31" fmla="*/ 534966 w 4510936"/>
                <a:gd name="connsiteY31" fmla="*/ 724623 h 3835942"/>
                <a:gd name="connsiteX32" fmla="*/ 655270 w 4510936"/>
                <a:gd name="connsiteY32" fmla="*/ 687278 h 3835942"/>
                <a:gd name="connsiteX33" fmla="*/ 663127 w 4510936"/>
                <a:gd name="connsiteY33" fmla="*/ 661967 h 3835942"/>
                <a:gd name="connsiteX34" fmla="*/ 1282159 w 4510936"/>
                <a:gd name="connsiteY34" fmla="*/ 251645 h 3835942"/>
                <a:gd name="connsiteX35" fmla="*/ 1417556 w 4510936"/>
                <a:gd name="connsiteY35" fmla="*/ 265294 h 3835942"/>
                <a:gd name="connsiteX36" fmla="*/ 1421411 w 4510936"/>
                <a:gd name="connsiteY36" fmla="*/ 266491 h 3835942"/>
                <a:gd name="connsiteX37" fmla="*/ 1478933 w 4510936"/>
                <a:gd name="connsiteY37" fmla="*/ 196773 h 3835942"/>
                <a:gd name="connsiteX38" fmla="*/ 1953986 w 4510936"/>
                <a:gd name="connsiteY3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0115 w 4510936"/>
                <a:gd name="connsiteY18" fmla="*/ 3729193 h 3835942"/>
                <a:gd name="connsiteX19" fmla="*/ 1581642 w 4510936"/>
                <a:gd name="connsiteY19" fmla="*/ 3835942 h 3835942"/>
                <a:gd name="connsiteX20" fmla="*/ 1113971 w 4510936"/>
                <a:gd name="connsiteY20" fmla="*/ 3835942 h 3835942"/>
                <a:gd name="connsiteX21" fmla="*/ 836413 w 4510936"/>
                <a:gd name="connsiteY21" fmla="*/ 3086585 h 3835942"/>
                <a:gd name="connsiteX22" fmla="*/ 116170 w 4510936"/>
                <a:gd name="connsiteY22" fmla="*/ 2308285 h 3835942"/>
                <a:gd name="connsiteX23" fmla="*/ 118297 w 4510936"/>
                <a:gd name="connsiteY23" fmla="*/ 2287181 h 3835942"/>
                <a:gd name="connsiteX24" fmla="*/ 98842 w 4510936"/>
                <a:gd name="connsiteY24" fmla="*/ 2263602 h 3835942"/>
                <a:gd name="connsiteX25" fmla="*/ 0 w 4510936"/>
                <a:gd name="connsiteY25" fmla="*/ 1940013 h 3835942"/>
                <a:gd name="connsiteX26" fmla="*/ 98842 w 4510936"/>
                <a:gd name="connsiteY26" fmla="*/ 1616424 h 3835942"/>
                <a:gd name="connsiteX27" fmla="*/ 158494 w 4510936"/>
                <a:gd name="connsiteY27" fmla="*/ 1544125 h 3835942"/>
                <a:gd name="connsiteX28" fmla="*/ 138294 w 4510936"/>
                <a:gd name="connsiteY28" fmla="*/ 1479051 h 3835942"/>
                <a:gd name="connsiteX29" fmla="*/ 124645 w 4510936"/>
                <a:gd name="connsiteY29" fmla="*/ 1343654 h 3835942"/>
                <a:gd name="connsiteX30" fmla="*/ 534966 w 4510936"/>
                <a:gd name="connsiteY30" fmla="*/ 724623 h 3835942"/>
                <a:gd name="connsiteX31" fmla="*/ 655270 w 4510936"/>
                <a:gd name="connsiteY31" fmla="*/ 687278 h 3835942"/>
                <a:gd name="connsiteX32" fmla="*/ 663127 w 4510936"/>
                <a:gd name="connsiteY32" fmla="*/ 661967 h 3835942"/>
                <a:gd name="connsiteX33" fmla="*/ 1282159 w 4510936"/>
                <a:gd name="connsiteY33" fmla="*/ 251645 h 3835942"/>
                <a:gd name="connsiteX34" fmla="*/ 1417556 w 4510936"/>
                <a:gd name="connsiteY34" fmla="*/ 265294 h 3835942"/>
                <a:gd name="connsiteX35" fmla="*/ 1421411 w 4510936"/>
                <a:gd name="connsiteY35" fmla="*/ 266491 h 3835942"/>
                <a:gd name="connsiteX36" fmla="*/ 1478933 w 4510936"/>
                <a:gd name="connsiteY36" fmla="*/ 196773 h 3835942"/>
                <a:gd name="connsiteX37" fmla="*/ 1953986 w 4510936"/>
                <a:gd name="connsiteY3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1642 w 4510936"/>
                <a:gd name="connsiteY18" fmla="*/ 3835942 h 3835942"/>
                <a:gd name="connsiteX19" fmla="*/ 1113971 w 4510936"/>
                <a:gd name="connsiteY19" fmla="*/ 3835942 h 3835942"/>
                <a:gd name="connsiteX20" fmla="*/ 836413 w 4510936"/>
                <a:gd name="connsiteY20" fmla="*/ 3086585 h 3835942"/>
                <a:gd name="connsiteX21" fmla="*/ 116170 w 4510936"/>
                <a:gd name="connsiteY21" fmla="*/ 2308285 h 3835942"/>
                <a:gd name="connsiteX22" fmla="*/ 118297 w 4510936"/>
                <a:gd name="connsiteY22" fmla="*/ 2287181 h 3835942"/>
                <a:gd name="connsiteX23" fmla="*/ 98842 w 4510936"/>
                <a:gd name="connsiteY23" fmla="*/ 2263602 h 3835942"/>
                <a:gd name="connsiteX24" fmla="*/ 0 w 4510936"/>
                <a:gd name="connsiteY24" fmla="*/ 1940013 h 3835942"/>
                <a:gd name="connsiteX25" fmla="*/ 98842 w 4510936"/>
                <a:gd name="connsiteY25" fmla="*/ 1616424 h 3835942"/>
                <a:gd name="connsiteX26" fmla="*/ 158494 w 4510936"/>
                <a:gd name="connsiteY26" fmla="*/ 1544125 h 3835942"/>
                <a:gd name="connsiteX27" fmla="*/ 138294 w 4510936"/>
                <a:gd name="connsiteY27" fmla="*/ 1479051 h 3835942"/>
                <a:gd name="connsiteX28" fmla="*/ 124645 w 4510936"/>
                <a:gd name="connsiteY28" fmla="*/ 1343654 h 3835942"/>
                <a:gd name="connsiteX29" fmla="*/ 534966 w 4510936"/>
                <a:gd name="connsiteY29" fmla="*/ 724623 h 3835942"/>
                <a:gd name="connsiteX30" fmla="*/ 655270 w 4510936"/>
                <a:gd name="connsiteY30" fmla="*/ 687278 h 3835942"/>
                <a:gd name="connsiteX31" fmla="*/ 663127 w 4510936"/>
                <a:gd name="connsiteY31" fmla="*/ 661967 h 3835942"/>
                <a:gd name="connsiteX32" fmla="*/ 1282159 w 4510936"/>
                <a:gd name="connsiteY32" fmla="*/ 251645 h 3835942"/>
                <a:gd name="connsiteX33" fmla="*/ 1417556 w 4510936"/>
                <a:gd name="connsiteY33" fmla="*/ 265294 h 3835942"/>
                <a:gd name="connsiteX34" fmla="*/ 1421411 w 4510936"/>
                <a:gd name="connsiteY34" fmla="*/ 266491 h 3835942"/>
                <a:gd name="connsiteX35" fmla="*/ 1478933 w 4510936"/>
                <a:gd name="connsiteY35" fmla="*/ 196773 h 3835942"/>
                <a:gd name="connsiteX36" fmla="*/ 1953986 w 4510936"/>
                <a:gd name="connsiteY3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81642 w 4510936"/>
                <a:gd name="connsiteY17" fmla="*/ 3835942 h 3835942"/>
                <a:gd name="connsiteX18" fmla="*/ 1113971 w 4510936"/>
                <a:gd name="connsiteY18" fmla="*/ 3835942 h 3835942"/>
                <a:gd name="connsiteX19" fmla="*/ 836413 w 4510936"/>
                <a:gd name="connsiteY19" fmla="*/ 3086585 h 3835942"/>
                <a:gd name="connsiteX20" fmla="*/ 116170 w 4510936"/>
                <a:gd name="connsiteY20" fmla="*/ 2308285 h 3835942"/>
                <a:gd name="connsiteX21" fmla="*/ 118297 w 4510936"/>
                <a:gd name="connsiteY21" fmla="*/ 2287181 h 3835942"/>
                <a:gd name="connsiteX22" fmla="*/ 98842 w 4510936"/>
                <a:gd name="connsiteY22" fmla="*/ 2263602 h 3835942"/>
                <a:gd name="connsiteX23" fmla="*/ 0 w 4510936"/>
                <a:gd name="connsiteY23" fmla="*/ 1940013 h 3835942"/>
                <a:gd name="connsiteX24" fmla="*/ 98842 w 4510936"/>
                <a:gd name="connsiteY24" fmla="*/ 1616424 h 3835942"/>
                <a:gd name="connsiteX25" fmla="*/ 158494 w 4510936"/>
                <a:gd name="connsiteY25" fmla="*/ 1544125 h 3835942"/>
                <a:gd name="connsiteX26" fmla="*/ 138294 w 4510936"/>
                <a:gd name="connsiteY26" fmla="*/ 1479051 h 3835942"/>
                <a:gd name="connsiteX27" fmla="*/ 124645 w 4510936"/>
                <a:gd name="connsiteY27" fmla="*/ 1343654 h 3835942"/>
                <a:gd name="connsiteX28" fmla="*/ 534966 w 4510936"/>
                <a:gd name="connsiteY28" fmla="*/ 724623 h 3835942"/>
                <a:gd name="connsiteX29" fmla="*/ 655270 w 4510936"/>
                <a:gd name="connsiteY29" fmla="*/ 687278 h 3835942"/>
                <a:gd name="connsiteX30" fmla="*/ 663127 w 4510936"/>
                <a:gd name="connsiteY30" fmla="*/ 661967 h 3835942"/>
                <a:gd name="connsiteX31" fmla="*/ 1282159 w 4510936"/>
                <a:gd name="connsiteY31" fmla="*/ 251645 h 3835942"/>
                <a:gd name="connsiteX32" fmla="*/ 1417556 w 4510936"/>
                <a:gd name="connsiteY32" fmla="*/ 265294 h 3835942"/>
                <a:gd name="connsiteX33" fmla="*/ 1421411 w 4510936"/>
                <a:gd name="connsiteY33" fmla="*/ 266491 h 3835942"/>
                <a:gd name="connsiteX34" fmla="*/ 1478933 w 4510936"/>
                <a:gd name="connsiteY34" fmla="*/ 196773 h 3835942"/>
                <a:gd name="connsiteX35" fmla="*/ 1953986 w 4510936"/>
                <a:gd name="connsiteY35" fmla="*/ 0 h 3835942"/>
                <a:gd name="connsiteX0" fmla="*/ 1581642 w 4510936"/>
                <a:gd name="connsiteY0" fmla="*/ 3835942 h 4045762"/>
                <a:gd name="connsiteX1" fmla="*/ 1113971 w 4510936"/>
                <a:gd name="connsiteY1" fmla="*/ 3835942 h 4045762"/>
                <a:gd name="connsiteX2" fmla="*/ 836413 w 4510936"/>
                <a:gd name="connsiteY2" fmla="*/ 3086585 h 4045762"/>
                <a:gd name="connsiteX3" fmla="*/ 116170 w 4510936"/>
                <a:gd name="connsiteY3" fmla="*/ 2308285 h 4045762"/>
                <a:gd name="connsiteX4" fmla="*/ 118297 w 4510936"/>
                <a:gd name="connsiteY4" fmla="*/ 2287181 h 4045762"/>
                <a:gd name="connsiteX5" fmla="*/ 98842 w 4510936"/>
                <a:gd name="connsiteY5" fmla="*/ 2263602 h 4045762"/>
                <a:gd name="connsiteX6" fmla="*/ 0 w 4510936"/>
                <a:gd name="connsiteY6" fmla="*/ 1940013 h 4045762"/>
                <a:gd name="connsiteX7" fmla="*/ 98842 w 4510936"/>
                <a:gd name="connsiteY7" fmla="*/ 1616424 h 4045762"/>
                <a:gd name="connsiteX8" fmla="*/ 158494 w 4510936"/>
                <a:gd name="connsiteY8" fmla="*/ 1544125 h 4045762"/>
                <a:gd name="connsiteX9" fmla="*/ 138294 w 4510936"/>
                <a:gd name="connsiteY9" fmla="*/ 1479051 h 4045762"/>
                <a:gd name="connsiteX10" fmla="*/ 124645 w 4510936"/>
                <a:gd name="connsiteY10" fmla="*/ 1343654 h 4045762"/>
                <a:gd name="connsiteX11" fmla="*/ 534966 w 4510936"/>
                <a:gd name="connsiteY11" fmla="*/ 724623 h 4045762"/>
                <a:gd name="connsiteX12" fmla="*/ 655270 w 4510936"/>
                <a:gd name="connsiteY12" fmla="*/ 687278 h 4045762"/>
                <a:gd name="connsiteX13" fmla="*/ 663127 w 4510936"/>
                <a:gd name="connsiteY13" fmla="*/ 661967 h 4045762"/>
                <a:gd name="connsiteX14" fmla="*/ 1282159 w 4510936"/>
                <a:gd name="connsiteY14" fmla="*/ 251645 h 4045762"/>
                <a:gd name="connsiteX15" fmla="*/ 1417556 w 4510936"/>
                <a:gd name="connsiteY15" fmla="*/ 265294 h 4045762"/>
                <a:gd name="connsiteX16" fmla="*/ 1421411 w 4510936"/>
                <a:gd name="connsiteY16" fmla="*/ 266491 h 4045762"/>
                <a:gd name="connsiteX17" fmla="*/ 1478933 w 4510936"/>
                <a:gd name="connsiteY17" fmla="*/ 196773 h 4045762"/>
                <a:gd name="connsiteX18" fmla="*/ 1953986 w 4510936"/>
                <a:gd name="connsiteY18" fmla="*/ 0 h 4045762"/>
                <a:gd name="connsiteX19" fmla="*/ 2329611 w 4510936"/>
                <a:gd name="connsiteY19" fmla="*/ 114738 h 4045762"/>
                <a:gd name="connsiteX20" fmla="*/ 2418153 w 4510936"/>
                <a:gd name="connsiteY20" fmla="*/ 187791 h 4045762"/>
                <a:gd name="connsiteX21" fmla="*/ 2436328 w 4510936"/>
                <a:gd name="connsiteY21" fmla="*/ 172795 h 4045762"/>
                <a:gd name="connsiteX22" fmla="*/ 2811953 w 4510936"/>
                <a:gd name="connsiteY22" fmla="*/ 58057 h 4045762"/>
                <a:gd name="connsiteX23" fmla="*/ 3430985 w 4510936"/>
                <a:gd name="connsiteY23" fmla="*/ 468379 h 4045762"/>
                <a:gd name="connsiteX24" fmla="*/ 3439052 w 4510936"/>
                <a:gd name="connsiteY24" fmla="*/ 494366 h 4045762"/>
                <a:gd name="connsiteX25" fmla="*/ 3483780 w 4510936"/>
                <a:gd name="connsiteY25" fmla="*/ 489857 h 4045762"/>
                <a:gd name="connsiteX26" fmla="*/ 4155607 w 4510936"/>
                <a:gd name="connsiteY26" fmla="*/ 1161684 h 4045762"/>
                <a:gd name="connsiteX27" fmla="*/ 4153309 w 4510936"/>
                <a:gd name="connsiteY27" fmla="*/ 1184483 h 4045762"/>
                <a:gd name="connsiteX28" fmla="*/ 4214734 w 4510936"/>
                <a:gd name="connsiteY28" fmla="*/ 1217823 h 4045762"/>
                <a:gd name="connsiteX29" fmla="*/ 4510936 w 4510936"/>
                <a:gd name="connsiteY29" fmla="*/ 1774913 h 4045762"/>
                <a:gd name="connsiteX30" fmla="*/ 3839109 w 4510936"/>
                <a:gd name="connsiteY30" fmla="*/ 2446740 h 4045762"/>
                <a:gd name="connsiteX31" fmla="*/ 2763472 w 4510936"/>
                <a:gd name="connsiteY31" fmla="*/ 2548740 h 4045762"/>
                <a:gd name="connsiteX32" fmla="*/ 2130180 w 4510936"/>
                <a:gd name="connsiteY32" fmla="*/ 2990785 h 4045762"/>
                <a:gd name="connsiteX33" fmla="*/ 2009850 w 4510936"/>
                <a:gd name="connsiteY33" fmla="*/ 3835942 h 4045762"/>
                <a:gd name="connsiteX34" fmla="*/ 1789458 w 4510936"/>
                <a:gd name="connsiteY34" fmla="*/ 3835942 h 4045762"/>
                <a:gd name="connsiteX35" fmla="*/ 1791461 w 4510936"/>
                <a:gd name="connsiteY35" fmla="*/ 4045762 h 404576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34" fmla="*/ 1789458 w 4510936"/>
                <a:gd name="connsiteY34" fmla="*/ 3835942 h 383594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10936" h="3835942">
                  <a:moveTo>
                    <a:pt x="1113971" y="3835942"/>
                  </a:moveTo>
                  <a:cubicBezTo>
                    <a:pt x="1117004" y="3353928"/>
                    <a:pt x="1047465" y="3115028"/>
                    <a:pt x="836413" y="3086585"/>
                  </a:cubicBezTo>
                  <a:cubicBezTo>
                    <a:pt x="446170" y="3033993"/>
                    <a:pt x="116170" y="2702056"/>
                    <a:pt x="116170" y="2308285"/>
                  </a:cubicBezTo>
                  <a:lnTo>
                    <a:pt x="118297" y="2287181"/>
                  </a:lnTo>
                  <a:lnTo>
                    <a:pt x="98842" y="2263602"/>
                  </a:lnTo>
                  <a:cubicBezTo>
                    <a:pt x="36438" y="2171232"/>
                    <a:pt x="0" y="2059878"/>
                    <a:pt x="0" y="1940013"/>
                  </a:cubicBezTo>
                  <a:cubicBezTo>
                    <a:pt x="0" y="1820148"/>
                    <a:pt x="36438" y="1708794"/>
                    <a:pt x="98842" y="1616424"/>
                  </a:cubicBezTo>
                  <a:lnTo>
                    <a:pt x="158494" y="1544125"/>
                  </a:lnTo>
                  <a:lnTo>
                    <a:pt x="138294" y="1479051"/>
                  </a:lnTo>
                  <a:cubicBezTo>
                    <a:pt x="129345" y="1435316"/>
                    <a:pt x="124645" y="1390034"/>
                    <a:pt x="124645" y="1343654"/>
                  </a:cubicBezTo>
                  <a:cubicBezTo>
                    <a:pt x="124645" y="1065374"/>
                    <a:pt x="293838" y="826611"/>
                    <a:pt x="534966" y="724623"/>
                  </a:cubicBezTo>
                  <a:lnTo>
                    <a:pt x="655270" y="687278"/>
                  </a:lnTo>
                  <a:lnTo>
                    <a:pt x="663127" y="661967"/>
                  </a:lnTo>
                  <a:cubicBezTo>
                    <a:pt x="765116" y="420838"/>
                    <a:pt x="1003879" y="251645"/>
                    <a:pt x="1282159" y="251645"/>
                  </a:cubicBezTo>
                  <a:cubicBezTo>
                    <a:pt x="1328539" y="251645"/>
                    <a:pt x="1373822" y="256345"/>
                    <a:pt x="1417556" y="265294"/>
                  </a:cubicBezTo>
                  <a:lnTo>
                    <a:pt x="1421411" y="266491"/>
                  </a:lnTo>
                  <a:lnTo>
                    <a:pt x="1478933" y="196773"/>
                  </a:lnTo>
                  <a:cubicBezTo>
                    <a:pt x="1600510" y="75197"/>
                    <a:pt x="1768466" y="0"/>
                    <a:pt x="1953986" y="0"/>
                  </a:cubicBezTo>
                  <a:cubicBezTo>
                    <a:pt x="2093126" y="0"/>
                    <a:pt x="2222387" y="42298"/>
                    <a:pt x="2329611" y="114738"/>
                  </a:cubicBezTo>
                  <a:lnTo>
                    <a:pt x="2418153" y="187791"/>
                  </a:lnTo>
                  <a:lnTo>
                    <a:pt x="2436328" y="172795"/>
                  </a:lnTo>
                  <a:cubicBezTo>
                    <a:pt x="2543553" y="100355"/>
                    <a:pt x="2672813" y="58057"/>
                    <a:pt x="2811953" y="58057"/>
                  </a:cubicBezTo>
                  <a:cubicBezTo>
                    <a:pt x="3090233" y="58057"/>
                    <a:pt x="3328996" y="227250"/>
                    <a:pt x="3430985" y="468379"/>
                  </a:cubicBezTo>
                  <a:lnTo>
                    <a:pt x="3439052" y="494366"/>
                  </a:lnTo>
                  <a:lnTo>
                    <a:pt x="3483780" y="489857"/>
                  </a:lnTo>
                  <a:cubicBezTo>
                    <a:pt x="3854820" y="489857"/>
                    <a:pt x="4155607" y="790644"/>
                    <a:pt x="4155607" y="1161684"/>
                  </a:cubicBezTo>
                  <a:lnTo>
                    <a:pt x="4153309" y="1184483"/>
                  </a:lnTo>
                  <a:lnTo>
                    <a:pt x="4214734" y="1217823"/>
                  </a:lnTo>
                  <a:cubicBezTo>
                    <a:pt x="4393441" y="1338556"/>
                    <a:pt x="4510936" y="1543013"/>
                    <a:pt x="4510936" y="1774913"/>
                  </a:cubicBezTo>
                  <a:cubicBezTo>
                    <a:pt x="4510936" y="2145953"/>
                    <a:pt x="4124085" y="2449471"/>
                    <a:pt x="3839109" y="2446740"/>
                  </a:cubicBezTo>
                  <a:cubicBezTo>
                    <a:pt x="3585495" y="2638428"/>
                    <a:pt x="3061074" y="2617143"/>
                    <a:pt x="2763472" y="2548740"/>
                  </a:cubicBezTo>
                  <a:cubicBezTo>
                    <a:pt x="2701568" y="2771878"/>
                    <a:pt x="2355083" y="3064742"/>
                    <a:pt x="2130180" y="2990785"/>
                  </a:cubicBezTo>
                  <a:cubicBezTo>
                    <a:pt x="2055794" y="3192776"/>
                    <a:pt x="1994823" y="3676349"/>
                    <a:pt x="2009850" y="3835942"/>
                  </a:cubicBezTo>
                </a:path>
              </a:pathLst>
            </a:custGeom>
            <a:noFill/>
            <a:ln w="190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5"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9" name="Group 38">
              <a:extLst>
                <a:ext uri="{FF2B5EF4-FFF2-40B4-BE49-F238E27FC236}">
                  <a16:creationId xmlns:a16="http://schemas.microsoft.com/office/drawing/2014/main" id="{374E97AB-8CE5-42B1-954A-FB64BED730FF}"/>
                </a:ext>
              </a:extLst>
            </p:cNvPr>
            <p:cNvGrpSpPr/>
            <p:nvPr/>
          </p:nvGrpSpPr>
          <p:grpSpPr>
            <a:xfrm>
              <a:off x="3558863" y="3838170"/>
              <a:ext cx="2873016" cy="2905512"/>
              <a:chOff x="3440120" y="3859753"/>
              <a:chExt cx="2873016" cy="2905512"/>
            </a:xfrm>
          </p:grpSpPr>
          <p:sp>
            <p:nvSpPr>
              <p:cNvPr id="41" name="Freeform: Shape 40">
                <a:extLst>
                  <a:ext uri="{FF2B5EF4-FFF2-40B4-BE49-F238E27FC236}">
                    <a16:creationId xmlns:a16="http://schemas.microsoft.com/office/drawing/2014/main" id="{34E2612B-F78C-44DB-8124-514402A903B5}"/>
                  </a:ext>
                </a:extLst>
              </p:cNvPr>
              <p:cNvSpPr/>
              <p:nvPr/>
            </p:nvSpPr>
            <p:spPr bwMode="auto">
              <a:xfrm>
                <a:off x="3729167" y="3859753"/>
                <a:ext cx="1024256" cy="2905512"/>
              </a:xfrm>
              <a:custGeom>
                <a:avLst/>
                <a:gdLst>
                  <a:gd name="connsiteX0" fmla="*/ 343153 w 511882"/>
                  <a:gd name="connsiteY0" fmla="*/ 1460046 h 1460046"/>
                  <a:gd name="connsiteX1" fmla="*/ 334989 w 511882"/>
                  <a:gd name="connsiteY1" fmla="*/ 1013732 h 1460046"/>
                  <a:gd name="connsiteX2" fmla="*/ 253 w 511882"/>
                  <a:gd name="connsiteY2" fmla="*/ 511628 h 1460046"/>
                  <a:gd name="connsiteX3" fmla="*/ 394861 w 511882"/>
                  <a:gd name="connsiteY3" fmla="*/ 198664 h 1460046"/>
                  <a:gd name="connsiteX4" fmla="*/ 511882 w 511882"/>
                  <a:gd name="connsiteY4" fmla="*/ 0 h 1460046"/>
                  <a:gd name="connsiteX0" fmla="*/ 343139 w 511868"/>
                  <a:gd name="connsiteY0" fmla="*/ 1460046 h 1460046"/>
                  <a:gd name="connsiteX1" fmla="*/ 334975 w 511868"/>
                  <a:gd name="connsiteY1" fmla="*/ 1013732 h 1460046"/>
                  <a:gd name="connsiteX2" fmla="*/ 239 w 511868"/>
                  <a:gd name="connsiteY2" fmla="*/ 511628 h 1460046"/>
                  <a:gd name="connsiteX3" fmla="*/ 394847 w 511868"/>
                  <a:gd name="connsiteY3" fmla="*/ 198664 h 1460046"/>
                  <a:gd name="connsiteX4" fmla="*/ 511868 w 511868"/>
                  <a:gd name="connsiteY4" fmla="*/ 0 h 1460046"/>
                  <a:gd name="connsiteX0" fmla="*/ 346813 w 515542"/>
                  <a:gd name="connsiteY0" fmla="*/ 1460046 h 1460046"/>
                  <a:gd name="connsiteX1" fmla="*/ 338649 w 515542"/>
                  <a:gd name="connsiteY1" fmla="*/ 1013732 h 1460046"/>
                  <a:gd name="connsiteX2" fmla="*/ 3913 w 515542"/>
                  <a:gd name="connsiteY2" fmla="*/ 511628 h 1460046"/>
                  <a:gd name="connsiteX3" fmla="*/ 398521 w 515542"/>
                  <a:gd name="connsiteY3" fmla="*/ 198664 h 1460046"/>
                  <a:gd name="connsiteX4" fmla="*/ 515542 w 515542"/>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698" h="1460046">
                    <a:moveTo>
                      <a:pt x="345969" y="1460046"/>
                    </a:moveTo>
                    <a:cubicBezTo>
                      <a:pt x="343247" y="1279185"/>
                      <a:pt x="359576" y="1110571"/>
                      <a:pt x="337805" y="1013732"/>
                    </a:cubicBezTo>
                    <a:cubicBezTo>
                      <a:pt x="301287" y="851299"/>
                      <a:pt x="-35485" y="768576"/>
                      <a:pt x="3069" y="511628"/>
                    </a:cubicBezTo>
                    <a:cubicBezTo>
                      <a:pt x="41623" y="254680"/>
                      <a:pt x="312406" y="245835"/>
                      <a:pt x="397677" y="198664"/>
                    </a:cubicBezTo>
                    <a:cubicBezTo>
                      <a:pt x="482948" y="151493"/>
                      <a:pt x="507712" y="62166"/>
                      <a:pt x="514698"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59" name="Freeform: Shape 58">
                <a:extLst>
                  <a:ext uri="{FF2B5EF4-FFF2-40B4-BE49-F238E27FC236}">
                    <a16:creationId xmlns:a16="http://schemas.microsoft.com/office/drawing/2014/main" id="{B61F3643-FCE5-4A5C-B3C3-4A40288505E5}"/>
                  </a:ext>
                </a:extLst>
              </p:cNvPr>
              <p:cNvSpPr/>
              <p:nvPr/>
            </p:nvSpPr>
            <p:spPr bwMode="auto">
              <a:xfrm>
                <a:off x="4475931" y="4041179"/>
                <a:ext cx="1233358" cy="351610"/>
              </a:xfrm>
              <a:custGeom>
                <a:avLst/>
                <a:gdLst>
                  <a:gd name="connsiteX0" fmla="*/ 640896 w 640896"/>
                  <a:gd name="connsiteY0" fmla="*/ 0 h 180184"/>
                  <a:gd name="connsiteX1" fmla="*/ 336096 w 640896"/>
                  <a:gd name="connsiteY1" fmla="*/ 176892 h 180184"/>
                  <a:gd name="connsiteX2" fmla="*/ 0 w 640896"/>
                  <a:gd name="connsiteY2" fmla="*/ 122464 h 180184"/>
                  <a:gd name="connsiteX0" fmla="*/ 640896 w 640896"/>
                  <a:gd name="connsiteY0" fmla="*/ 0 h 181666"/>
                  <a:gd name="connsiteX1" fmla="*/ 336096 w 640896"/>
                  <a:gd name="connsiteY1" fmla="*/ 176892 h 181666"/>
                  <a:gd name="connsiteX2" fmla="*/ 0 w 640896"/>
                  <a:gd name="connsiteY2" fmla="*/ 122464 h 181666"/>
                  <a:gd name="connsiteX0" fmla="*/ 640896 w 640896"/>
                  <a:gd name="connsiteY0" fmla="*/ 0 h 122464"/>
                  <a:gd name="connsiteX1" fmla="*/ 0 w 640896"/>
                  <a:gd name="connsiteY1" fmla="*/ 122464 h 122464"/>
                  <a:gd name="connsiteX0" fmla="*/ 640896 w 640896"/>
                  <a:gd name="connsiteY0" fmla="*/ 0 h 150251"/>
                  <a:gd name="connsiteX1" fmla="*/ 0 w 640896"/>
                  <a:gd name="connsiteY1" fmla="*/ 122464 h 150251"/>
                  <a:gd name="connsiteX0" fmla="*/ 640896 w 640896"/>
                  <a:gd name="connsiteY0" fmla="*/ 0 h 179415"/>
                  <a:gd name="connsiteX1" fmla="*/ 0 w 640896"/>
                  <a:gd name="connsiteY1" fmla="*/ 122464 h 179415"/>
                  <a:gd name="connsiteX0" fmla="*/ 625928 w 625928"/>
                  <a:gd name="connsiteY0" fmla="*/ 0 h 176687"/>
                  <a:gd name="connsiteX1" fmla="*/ 0 w 625928"/>
                  <a:gd name="connsiteY1" fmla="*/ 118381 h 176687"/>
                  <a:gd name="connsiteX0" fmla="*/ 619774 w 619774"/>
                  <a:gd name="connsiteY0" fmla="*/ 0 h 176687"/>
                  <a:gd name="connsiteX1" fmla="*/ 0 w 619774"/>
                  <a:gd name="connsiteY1" fmla="*/ 118381 h 176687"/>
                </a:gdLst>
                <a:ahLst/>
                <a:cxnLst>
                  <a:cxn ang="0">
                    <a:pos x="connsiteX0" y="connsiteY0"/>
                  </a:cxn>
                  <a:cxn ang="0">
                    <a:pos x="connsiteX1" y="connsiteY1"/>
                  </a:cxn>
                </a:cxnLst>
                <a:rect l="l" t="t" r="r" b="b"/>
                <a:pathLst>
                  <a:path w="619774" h="176687">
                    <a:moveTo>
                      <a:pt x="619774" y="0"/>
                    </a:moveTo>
                    <a:cubicBezTo>
                      <a:pt x="554460" y="204107"/>
                      <a:pt x="205468" y="213631"/>
                      <a:pt x="0" y="118381"/>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0" name="Freeform: Shape 59">
                <a:extLst>
                  <a:ext uri="{FF2B5EF4-FFF2-40B4-BE49-F238E27FC236}">
                    <a16:creationId xmlns:a16="http://schemas.microsoft.com/office/drawing/2014/main" id="{2074C738-0D0C-4D7A-88A3-99BBF717620F}"/>
                  </a:ext>
                </a:extLst>
              </p:cNvPr>
              <p:cNvSpPr/>
              <p:nvPr/>
            </p:nvSpPr>
            <p:spPr bwMode="auto">
              <a:xfrm>
                <a:off x="3903160" y="4041179"/>
                <a:ext cx="285801" cy="322233"/>
              </a:xfrm>
              <a:custGeom>
                <a:avLst/>
                <a:gdLst>
                  <a:gd name="connsiteX0" fmla="*/ 0 w 136071"/>
                  <a:gd name="connsiteY0" fmla="*/ 0 h 171450"/>
                  <a:gd name="connsiteX1" fmla="*/ 108857 w 136071"/>
                  <a:gd name="connsiteY1" fmla="*/ 76200 h 171450"/>
                  <a:gd name="connsiteX2" fmla="*/ 136071 w 136071"/>
                  <a:gd name="connsiteY2"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Lst>
                <a:ahLst/>
                <a:cxnLst>
                  <a:cxn ang="0">
                    <a:pos x="connsiteX0" y="connsiteY0"/>
                  </a:cxn>
                  <a:cxn ang="0">
                    <a:pos x="connsiteX1" y="connsiteY1"/>
                  </a:cxn>
                </a:cxnLst>
                <a:rect l="l" t="t" r="r" b="b"/>
                <a:pathLst>
                  <a:path w="136071" h="171450">
                    <a:moveTo>
                      <a:pt x="0" y="0"/>
                    </a:moveTo>
                    <a:cubicBezTo>
                      <a:pt x="90058" y="31810"/>
                      <a:pt x="113388" y="112852"/>
                      <a:pt x="136071" y="17145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1" name="Freeform: Shape 60">
                <a:extLst>
                  <a:ext uri="{FF2B5EF4-FFF2-40B4-BE49-F238E27FC236}">
                    <a16:creationId xmlns:a16="http://schemas.microsoft.com/office/drawing/2014/main" id="{1C45D4F0-E26F-4AB1-B273-DDFB3973377B}"/>
                  </a:ext>
                </a:extLst>
              </p:cNvPr>
              <p:cNvSpPr/>
              <p:nvPr/>
            </p:nvSpPr>
            <p:spPr bwMode="auto">
              <a:xfrm>
                <a:off x="3440120" y="4482556"/>
                <a:ext cx="289738" cy="446794"/>
              </a:xfrm>
              <a:custGeom>
                <a:avLst/>
                <a:gdLst>
                  <a:gd name="connsiteX0" fmla="*/ 0 w 145596"/>
                  <a:gd name="connsiteY0" fmla="*/ 0 h 230238"/>
                  <a:gd name="connsiteX1" fmla="*/ 85725 w 145596"/>
                  <a:gd name="connsiteY1" fmla="*/ 201386 h 230238"/>
                  <a:gd name="connsiteX2" fmla="*/ 145596 w 145596"/>
                  <a:gd name="connsiteY2" fmla="*/ 224518 h 23023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Lst>
                <a:ahLst/>
                <a:cxnLst>
                  <a:cxn ang="0">
                    <a:pos x="connsiteX0" y="connsiteY0"/>
                  </a:cxn>
                  <a:cxn ang="0">
                    <a:pos x="connsiteX1" y="connsiteY1"/>
                  </a:cxn>
                </a:cxnLst>
                <a:rect l="l" t="t" r="r" b="b"/>
                <a:pathLst>
                  <a:path w="145596" h="224518">
                    <a:moveTo>
                      <a:pt x="0" y="0"/>
                    </a:moveTo>
                    <a:cubicBezTo>
                      <a:pt x="12976" y="98771"/>
                      <a:pt x="56722" y="206432"/>
                      <a:pt x="145596" y="224518"/>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2" name="Freeform: Shape 61">
                <a:extLst>
                  <a:ext uri="{FF2B5EF4-FFF2-40B4-BE49-F238E27FC236}">
                    <a16:creationId xmlns:a16="http://schemas.microsoft.com/office/drawing/2014/main" id="{1EA3111D-823E-4A2E-A1E3-8A398BD7BEB6}"/>
                  </a:ext>
                </a:extLst>
              </p:cNvPr>
              <p:cNvSpPr/>
              <p:nvPr/>
            </p:nvSpPr>
            <p:spPr bwMode="auto">
              <a:xfrm>
                <a:off x="3770503" y="5061350"/>
                <a:ext cx="452182" cy="87336"/>
              </a:xfrm>
              <a:custGeom>
                <a:avLst/>
                <a:gdLst>
                  <a:gd name="connsiteX0" fmla="*/ 0 w 229961"/>
                  <a:gd name="connsiteY0" fmla="*/ 46002 h 46002"/>
                  <a:gd name="connsiteX1" fmla="*/ 111579 w 229961"/>
                  <a:gd name="connsiteY1" fmla="*/ 2459 h 46002"/>
                  <a:gd name="connsiteX2" fmla="*/ 229961 w 229961"/>
                  <a:gd name="connsiteY2" fmla="*/ 9262 h 46002"/>
                  <a:gd name="connsiteX0" fmla="*/ 0 w 227226"/>
                  <a:gd name="connsiteY0" fmla="*/ 46002 h 46002"/>
                  <a:gd name="connsiteX1" fmla="*/ 108844 w 227226"/>
                  <a:gd name="connsiteY1" fmla="*/ 2459 h 46002"/>
                  <a:gd name="connsiteX2" fmla="*/ 227226 w 227226"/>
                  <a:gd name="connsiteY2" fmla="*/ 9262 h 46002"/>
                  <a:gd name="connsiteX0" fmla="*/ 0 w 227226"/>
                  <a:gd name="connsiteY0" fmla="*/ 36740 h 36740"/>
                  <a:gd name="connsiteX1" fmla="*/ 227226 w 227226"/>
                  <a:gd name="connsiteY1" fmla="*/ 0 h 36740"/>
                  <a:gd name="connsiteX0" fmla="*/ 0 w 227226"/>
                  <a:gd name="connsiteY0" fmla="*/ 36740 h 36740"/>
                  <a:gd name="connsiteX1" fmla="*/ 227226 w 227226"/>
                  <a:gd name="connsiteY1" fmla="*/ 0 h 36740"/>
                  <a:gd name="connsiteX0" fmla="*/ 0 w 227226"/>
                  <a:gd name="connsiteY0" fmla="*/ 43887 h 43887"/>
                  <a:gd name="connsiteX1" fmla="*/ 227226 w 227226"/>
                  <a:gd name="connsiteY1" fmla="*/ 7147 h 43887"/>
                </a:gdLst>
                <a:ahLst/>
                <a:cxnLst>
                  <a:cxn ang="0">
                    <a:pos x="connsiteX0" y="connsiteY0"/>
                  </a:cxn>
                  <a:cxn ang="0">
                    <a:pos x="connsiteX1" y="connsiteY1"/>
                  </a:cxn>
                </a:cxnLst>
                <a:rect l="l" t="t" r="r" b="b"/>
                <a:pathLst>
                  <a:path w="227226" h="43887">
                    <a:moveTo>
                      <a:pt x="0" y="43887"/>
                    </a:moveTo>
                    <a:cubicBezTo>
                      <a:pt x="82580" y="4289"/>
                      <a:pt x="148065" y="-10008"/>
                      <a:pt x="227226" y="7147"/>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3" name="Freeform: Shape 62">
                <a:extLst>
                  <a:ext uri="{FF2B5EF4-FFF2-40B4-BE49-F238E27FC236}">
                    <a16:creationId xmlns:a16="http://schemas.microsoft.com/office/drawing/2014/main" id="{A34EDDBF-D750-4406-82C8-51B572E303EE}"/>
                  </a:ext>
                </a:extLst>
              </p:cNvPr>
              <p:cNvSpPr/>
              <p:nvPr/>
            </p:nvSpPr>
            <p:spPr bwMode="auto">
              <a:xfrm>
                <a:off x="3587852" y="5344832"/>
                <a:ext cx="315308" cy="304679"/>
              </a:xfrm>
              <a:custGeom>
                <a:avLst/>
                <a:gdLst>
                  <a:gd name="connsiteX0" fmla="*/ 0 w 171450"/>
                  <a:gd name="connsiteY0" fmla="*/ 163285 h 163285"/>
                  <a:gd name="connsiteX1" fmla="*/ 137432 w 171450"/>
                  <a:gd name="connsiteY1" fmla="*/ 59871 h 163285"/>
                  <a:gd name="connsiteX2" fmla="*/ 171450 w 171450"/>
                  <a:gd name="connsiteY2" fmla="*/ 0 h 163285"/>
                  <a:gd name="connsiteX0" fmla="*/ 0 w 155969"/>
                  <a:gd name="connsiteY0" fmla="*/ 151135 h 151135"/>
                  <a:gd name="connsiteX1" fmla="*/ 121951 w 155969"/>
                  <a:gd name="connsiteY1" fmla="*/ 59871 h 151135"/>
                  <a:gd name="connsiteX2" fmla="*/ 155969 w 155969"/>
                  <a:gd name="connsiteY2"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Lst>
                <a:ahLst/>
                <a:cxnLst>
                  <a:cxn ang="0">
                    <a:pos x="connsiteX0" y="connsiteY0"/>
                  </a:cxn>
                  <a:cxn ang="0">
                    <a:pos x="connsiteX1" y="connsiteY1"/>
                  </a:cxn>
                </a:cxnLst>
                <a:rect l="l" t="t" r="r" b="b"/>
                <a:pathLst>
                  <a:path w="155969" h="151135">
                    <a:moveTo>
                      <a:pt x="0" y="151135"/>
                    </a:moveTo>
                    <a:cubicBezTo>
                      <a:pt x="67471" y="118307"/>
                      <a:pt x="120134" y="58477"/>
                      <a:pt x="155969"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4" name="Freeform: Shape 63">
                <a:extLst>
                  <a:ext uri="{FF2B5EF4-FFF2-40B4-BE49-F238E27FC236}">
                    <a16:creationId xmlns:a16="http://schemas.microsoft.com/office/drawing/2014/main" id="{0828F9CC-1213-4FB5-A936-BBEF657BE3B8}"/>
                  </a:ext>
                </a:extLst>
              </p:cNvPr>
              <p:cNvSpPr/>
              <p:nvPr/>
            </p:nvSpPr>
            <p:spPr bwMode="auto">
              <a:xfrm>
                <a:off x="4642401" y="4363411"/>
                <a:ext cx="179213" cy="831307"/>
              </a:xfrm>
              <a:custGeom>
                <a:avLst/>
                <a:gdLst>
                  <a:gd name="connsiteX0" fmla="*/ 0 w 100249"/>
                  <a:gd name="connsiteY0" fmla="*/ 421822 h 421822"/>
                  <a:gd name="connsiteX1" fmla="*/ 99332 w 100249"/>
                  <a:gd name="connsiteY1" fmla="*/ 201386 h 421822"/>
                  <a:gd name="connsiteX2" fmla="*/ 48985 w 100249"/>
                  <a:gd name="connsiteY2" fmla="*/ 0 h 421822"/>
                  <a:gd name="connsiteX0" fmla="*/ 0 w 48985"/>
                  <a:gd name="connsiteY0" fmla="*/ 421822 h 421822"/>
                  <a:gd name="connsiteX1" fmla="*/ 48985 w 48985"/>
                  <a:gd name="connsiteY1" fmla="*/ 0 h 421822"/>
                  <a:gd name="connsiteX0" fmla="*/ 0 w 52272"/>
                  <a:gd name="connsiteY0" fmla="*/ 421822 h 421822"/>
                  <a:gd name="connsiteX1" fmla="*/ 48985 w 52272"/>
                  <a:gd name="connsiteY1" fmla="*/ 0 h 421822"/>
                  <a:gd name="connsiteX0" fmla="*/ 0 w 89757"/>
                  <a:gd name="connsiteY0" fmla="*/ 421822 h 421822"/>
                  <a:gd name="connsiteX1" fmla="*/ 48985 w 89757"/>
                  <a:gd name="connsiteY1" fmla="*/ 0 h 421822"/>
                  <a:gd name="connsiteX0" fmla="*/ 0 w 90056"/>
                  <a:gd name="connsiteY0" fmla="*/ 421822 h 421822"/>
                  <a:gd name="connsiteX1" fmla="*/ 48985 w 90056"/>
                  <a:gd name="connsiteY1" fmla="*/ 0 h 421822"/>
                </a:gdLst>
                <a:ahLst/>
                <a:cxnLst>
                  <a:cxn ang="0">
                    <a:pos x="connsiteX0" y="connsiteY0"/>
                  </a:cxn>
                  <a:cxn ang="0">
                    <a:pos x="connsiteX1" y="connsiteY1"/>
                  </a:cxn>
                </a:cxnLst>
                <a:rect l="l" t="t" r="r" b="b"/>
                <a:pathLst>
                  <a:path w="90056" h="421822">
                    <a:moveTo>
                      <a:pt x="0" y="421822"/>
                    </a:moveTo>
                    <a:cubicBezTo>
                      <a:pt x="90175" y="294333"/>
                      <a:pt x="123598" y="206200"/>
                      <a:pt x="48985"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5" name="Freeform: Shape 64">
                <a:extLst>
                  <a:ext uri="{FF2B5EF4-FFF2-40B4-BE49-F238E27FC236}">
                    <a16:creationId xmlns:a16="http://schemas.microsoft.com/office/drawing/2014/main" id="{7A185C61-2B35-4C6E-A2CB-473C603ACE77}"/>
                  </a:ext>
                </a:extLst>
              </p:cNvPr>
              <p:cNvSpPr/>
              <p:nvPr/>
            </p:nvSpPr>
            <p:spPr bwMode="auto">
              <a:xfrm>
                <a:off x="4785632" y="4875193"/>
                <a:ext cx="414582" cy="100715"/>
              </a:xfrm>
              <a:custGeom>
                <a:avLst/>
                <a:gdLst>
                  <a:gd name="connsiteX0" fmla="*/ 213632 w 213632"/>
                  <a:gd name="connsiteY0" fmla="*/ 0 h 55831"/>
                  <a:gd name="connsiteX1" fmla="*/ 84364 w 213632"/>
                  <a:gd name="connsiteY1" fmla="*/ 53067 h 55831"/>
                  <a:gd name="connsiteX2" fmla="*/ 0 w 213632"/>
                  <a:gd name="connsiteY2" fmla="*/ 43542 h 55831"/>
                  <a:gd name="connsiteX0" fmla="*/ 213632 w 213632"/>
                  <a:gd name="connsiteY0" fmla="*/ 0 h 43542"/>
                  <a:gd name="connsiteX1" fmla="*/ 0 w 213632"/>
                  <a:gd name="connsiteY1" fmla="*/ 43542 h 43542"/>
                  <a:gd name="connsiteX0" fmla="*/ 213632 w 213632"/>
                  <a:gd name="connsiteY0" fmla="*/ 0 h 48873"/>
                  <a:gd name="connsiteX1" fmla="*/ 0 w 213632"/>
                  <a:gd name="connsiteY1" fmla="*/ 43542 h 48873"/>
                  <a:gd name="connsiteX0" fmla="*/ 213632 w 213632"/>
                  <a:gd name="connsiteY0" fmla="*/ 0 h 51702"/>
                  <a:gd name="connsiteX1" fmla="*/ 0 w 213632"/>
                  <a:gd name="connsiteY1" fmla="*/ 43542 h 51702"/>
                  <a:gd name="connsiteX0" fmla="*/ 213632 w 213632"/>
                  <a:gd name="connsiteY0" fmla="*/ 0 h 50610"/>
                  <a:gd name="connsiteX1" fmla="*/ 0 w 213632"/>
                  <a:gd name="connsiteY1" fmla="*/ 43542 h 50610"/>
                </a:gdLst>
                <a:ahLst/>
                <a:cxnLst>
                  <a:cxn ang="0">
                    <a:pos x="connsiteX0" y="connsiteY0"/>
                  </a:cxn>
                  <a:cxn ang="0">
                    <a:pos x="connsiteX1" y="connsiteY1"/>
                  </a:cxn>
                </a:cxnLst>
                <a:rect l="l" t="t" r="r" b="b"/>
                <a:pathLst>
                  <a:path w="213632" h="50610">
                    <a:moveTo>
                      <a:pt x="213632" y="0"/>
                    </a:moveTo>
                    <a:cubicBezTo>
                      <a:pt x="168195" y="32976"/>
                      <a:pt x="91725" y="65268"/>
                      <a:pt x="0" y="43542"/>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7" name="Freeform: Shape 66">
                <a:extLst>
                  <a:ext uri="{FF2B5EF4-FFF2-40B4-BE49-F238E27FC236}">
                    <a16:creationId xmlns:a16="http://schemas.microsoft.com/office/drawing/2014/main" id="{31E0AACF-D21A-4DE4-824B-F539AD4E1987}"/>
                  </a:ext>
                </a:extLst>
              </p:cNvPr>
              <p:cNvSpPr/>
              <p:nvPr/>
            </p:nvSpPr>
            <p:spPr bwMode="auto">
              <a:xfrm>
                <a:off x="5311236" y="4363412"/>
                <a:ext cx="1001900" cy="308046"/>
              </a:xfrm>
              <a:custGeom>
                <a:avLst/>
                <a:gdLst>
                  <a:gd name="connsiteX0" fmla="*/ 503464 w 503464"/>
                  <a:gd name="connsiteY0" fmla="*/ 106135 h 154882"/>
                  <a:gd name="connsiteX1" fmla="*/ 216354 w 503464"/>
                  <a:gd name="connsiteY1" fmla="*/ 149678 h 154882"/>
                  <a:gd name="connsiteX2" fmla="*/ 0 w 503464"/>
                  <a:gd name="connsiteY2" fmla="*/ 0 h 154882"/>
                  <a:gd name="connsiteX0" fmla="*/ 503464 w 503464"/>
                  <a:gd name="connsiteY0" fmla="*/ 106135 h 106135"/>
                  <a:gd name="connsiteX1" fmla="*/ 0 w 503464"/>
                  <a:gd name="connsiteY1" fmla="*/ 0 h 106135"/>
                  <a:gd name="connsiteX0" fmla="*/ 503464 w 503464"/>
                  <a:gd name="connsiteY0" fmla="*/ 106135 h 106135"/>
                  <a:gd name="connsiteX1" fmla="*/ 0 w 503464"/>
                  <a:gd name="connsiteY1" fmla="*/ 0 h 106135"/>
                  <a:gd name="connsiteX0" fmla="*/ 503464 w 503464"/>
                  <a:gd name="connsiteY0" fmla="*/ 106135 h 154796"/>
                  <a:gd name="connsiteX1" fmla="*/ 0 w 503464"/>
                  <a:gd name="connsiteY1" fmla="*/ 0 h 154796"/>
                </a:gdLst>
                <a:ahLst/>
                <a:cxnLst>
                  <a:cxn ang="0">
                    <a:pos x="connsiteX0" y="connsiteY0"/>
                  </a:cxn>
                  <a:cxn ang="0">
                    <a:pos x="connsiteX1" y="connsiteY1"/>
                  </a:cxn>
                </a:cxnLst>
                <a:rect l="l" t="t" r="r" b="b"/>
                <a:pathLst>
                  <a:path w="503464" h="154796">
                    <a:moveTo>
                      <a:pt x="503464" y="106135"/>
                    </a:moveTo>
                    <a:cubicBezTo>
                      <a:pt x="387609" y="195203"/>
                      <a:pt x="72093" y="163243"/>
                      <a:pt x="0"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8" name="Freeform: Shape 67">
                <a:extLst>
                  <a:ext uri="{FF2B5EF4-FFF2-40B4-BE49-F238E27FC236}">
                    <a16:creationId xmlns:a16="http://schemas.microsoft.com/office/drawing/2014/main" id="{D63DD180-FF3A-4874-B3EA-E882A372F81A}"/>
                  </a:ext>
                </a:extLst>
              </p:cNvPr>
              <p:cNvSpPr/>
              <p:nvPr/>
            </p:nvSpPr>
            <p:spPr bwMode="auto">
              <a:xfrm>
                <a:off x="5863318" y="4671458"/>
                <a:ext cx="349629" cy="604494"/>
              </a:xfrm>
              <a:custGeom>
                <a:avLst/>
                <a:gdLst>
                  <a:gd name="connsiteX0" fmla="*/ 187779 w 187779"/>
                  <a:gd name="connsiteY0" fmla="*/ 318407 h 318407"/>
                  <a:gd name="connsiteX1" fmla="*/ 99333 w 187779"/>
                  <a:gd name="connsiteY1" fmla="*/ 110218 h 318407"/>
                  <a:gd name="connsiteX2" fmla="*/ 0 w 187779"/>
                  <a:gd name="connsiteY2"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Lst>
                <a:ahLst/>
                <a:cxnLst>
                  <a:cxn ang="0">
                    <a:pos x="connsiteX0" y="connsiteY0"/>
                  </a:cxn>
                  <a:cxn ang="0">
                    <a:pos x="connsiteX1" y="connsiteY1"/>
                  </a:cxn>
                </a:cxnLst>
                <a:rect l="l" t="t" r="r" b="b"/>
                <a:pathLst>
                  <a:path w="187779" h="318407">
                    <a:moveTo>
                      <a:pt x="187779" y="318407"/>
                    </a:moveTo>
                    <a:cubicBezTo>
                      <a:pt x="179997" y="236640"/>
                      <a:pt x="132751" y="105419"/>
                      <a:pt x="0"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grpSp>
      </p:grpSp>
      <p:grpSp>
        <p:nvGrpSpPr>
          <p:cNvPr id="3" name="Group 2">
            <a:extLst>
              <a:ext uri="{FF2B5EF4-FFF2-40B4-BE49-F238E27FC236}">
                <a16:creationId xmlns:a16="http://schemas.microsoft.com/office/drawing/2014/main" id="{C31F99D7-B189-4394-9BB1-4828DAEE7123}"/>
              </a:ext>
            </a:extLst>
          </p:cNvPr>
          <p:cNvGrpSpPr/>
          <p:nvPr/>
        </p:nvGrpSpPr>
        <p:grpSpPr>
          <a:xfrm>
            <a:off x="10286036" y="3083896"/>
            <a:ext cx="420251" cy="1402270"/>
            <a:chOff x="4081774" y="3329291"/>
            <a:chExt cx="208476" cy="695630"/>
          </a:xfrm>
        </p:grpSpPr>
        <p:sp>
          <p:nvSpPr>
            <p:cNvPr id="69" name="Freeform: Shape 234">
              <a:extLst>
                <a:ext uri="{FF2B5EF4-FFF2-40B4-BE49-F238E27FC236}">
                  <a16:creationId xmlns:a16="http://schemas.microsoft.com/office/drawing/2014/main" id="{4F8E639B-C796-4941-B53C-C68E0980B38E}"/>
                </a:ext>
              </a:extLst>
            </p:cNvPr>
            <p:cNvSpPr/>
            <p:nvPr/>
          </p:nvSpPr>
          <p:spPr bwMode="auto">
            <a:xfrm>
              <a:off x="4081774" y="3385143"/>
              <a:ext cx="208476" cy="428318"/>
            </a:xfrm>
            <a:custGeom>
              <a:avLst/>
              <a:gdLst>
                <a:gd name="connsiteX0" fmla="*/ 1610436 w 1744997"/>
                <a:gd name="connsiteY0" fmla="*/ 0 h 3184478"/>
                <a:gd name="connsiteX1" fmla="*/ 90985 w 1744997"/>
                <a:gd name="connsiteY1" fmla="*/ 523165 h 3184478"/>
                <a:gd name="connsiteX2" fmla="*/ 900752 w 1744997"/>
                <a:gd name="connsiteY2" fmla="*/ 1628633 h 3184478"/>
                <a:gd name="connsiteX3" fmla="*/ 1724167 w 1744997"/>
                <a:gd name="connsiteY3" fmla="*/ 2602174 h 3184478"/>
                <a:gd name="connsiteX4" fmla="*/ 0 w 1744997"/>
                <a:gd name="connsiteY4" fmla="*/ 3184478 h 3184478"/>
                <a:gd name="connsiteX0" fmla="*/ 1610436 w 1724272"/>
                <a:gd name="connsiteY0" fmla="*/ 0 h 3184478"/>
                <a:gd name="connsiteX1" fmla="*/ 90985 w 1724272"/>
                <a:gd name="connsiteY1" fmla="*/ 523165 h 3184478"/>
                <a:gd name="connsiteX2" fmla="*/ 1724167 w 1724272"/>
                <a:gd name="connsiteY2" fmla="*/ 2602174 h 3184478"/>
                <a:gd name="connsiteX3" fmla="*/ 0 w 1724272"/>
                <a:gd name="connsiteY3" fmla="*/ 3184478 h 3184478"/>
                <a:gd name="connsiteX0" fmla="*/ 1610436 w 1724272"/>
                <a:gd name="connsiteY0" fmla="*/ 137369 h 3321847"/>
                <a:gd name="connsiteX1" fmla="*/ 90985 w 1724272"/>
                <a:gd name="connsiteY1" fmla="*/ 660534 h 3321847"/>
                <a:gd name="connsiteX2" fmla="*/ 1724167 w 1724272"/>
                <a:gd name="connsiteY2" fmla="*/ 2739543 h 3321847"/>
                <a:gd name="connsiteX3" fmla="*/ 0 w 1724272"/>
                <a:gd name="connsiteY3" fmla="*/ 3321847 h 3321847"/>
                <a:gd name="connsiteX0" fmla="*/ 1610436 w 1724265"/>
                <a:gd name="connsiteY0" fmla="*/ 256061 h 3440539"/>
                <a:gd name="connsiteX1" fmla="*/ 90985 w 1724265"/>
                <a:gd name="connsiteY1" fmla="*/ 779226 h 3440539"/>
                <a:gd name="connsiteX2" fmla="*/ 1724167 w 1724265"/>
                <a:gd name="connsiteY2" fmla="*/ 2858235 h 3440539"/>
                <a:gd name="connsiteX3" fmla="*/ 0 w 1724265"/>
                <a:gd name="connsiteY3" fmla="*/ 3440539 h 3440539"/>
                <a:gd name="connsiteX0" fmla="*/ 1610436 w 1741923"/>
                <a:gd name="connsiteY0" fmla="*/ 256061 h 3440539"/>
                <a:gd name="connsiteX1" fmla="*/ 90985 w 1741923"/>
                <a:gd name="connsiteY1" fmla="*/ 779226 h 3440539"/>
                <a:gd name="connsiteX2" fmla="*/ 1724167 w 1741923"/>
                <a:gd name="connsiteY2" fmla="*/ 2858235 h 3440539"/>
                <a:gd name="connsiteX3" fmla="*/ 0 w 1741923"/>
                <a:gd name="connsiteY3" fmla="*/ 3440539 h 3440539"/>
                <a:gd name="connsiteX0" fmla="*/ 1610436 w 1724327"/>
                <a:gd name="connsiteY0" fmla="*/ 256061 h 3440539"/>
                <a:gd name="connsiteX1" fmla="*/ 90985 w 1724327"/>
                <a:gd name="connsiteY1" fmla="*/ 779226 h 3440539"/>
                <a:gd name="connsiteX2" fmla="*/ 1724167 w 1724327"/>
                <a:gd name="connsiteY2" fmla="*/ 2858235 h 3440539"/>
                <a:gd name="connsiteX3" fmla="*/ 0 w 1724327"/>
                <a:gd name="connsiteY3" fmla="*/ 3440539 h 3440539"/>
                <a:gd name="connsiteX0" fmla="*/ 1610436 w 1725288"/>
                <a:gd name="connsiteY0" fmla="*/ 256061 h 3482768"/>
                <a:gd name="connsiteX1" fmla="*/ 90985 w 1725288"/>
                <a:gd name="connsiteY1" fmla="*/ 779226 h 3482768"/>
                <a:gd name="connsiteX2" fmla="*/ 1724167 w 1725288"/>
                <a:gd name="connsiteY2" fmla="*/ 2858235 h 3482768"/>
                <a:gd name="connsiteX3" fmla="*/ 0 w 1725288"/>
                <a:gd name="connsiteY3" fmla="*/ 3440539 h 3482768"/>
                <a:gd name="connsiteX0" fmla="*/ 1610436 w 1725288"/>
                <a:gd name="connsiteY0" fmla="*/ 256061 h 3630751"/>
                <a:gd name="connsiteX1" fmla="*/ 90985 w 1725288"/>
                <a:gd name="connsiteY1" fmla="*/ 779226 h 3630751"/>
                <a:gd name="connsiteX2" fmla="*/ 1724167 w 1725288"/>
                <a:gd name="connsiteY2" fmla="*/ 2858235 h 3630751"/>
                <a:gd name="connsiteX3" fmla="*/ 0 w 1725288"/>
                <a:gd name="connsiteY3" fmla="*/ 3440539 h 3630751"/>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14"/>
                <a:gd name="connsiteY0" fmla="*/ 194772 h 3569462"/>
                <a:gd name="connsiteX1" fmla="*/ 90985 w 1725214"/>
                <a:gd name="connsiteY1" fmla="*/ 717937 h 3569462"/>
                <a:gd name="connsiteX2" fmla="*/ 1724167 w 1725214"/>
                <a:gd name="connsiteY2" fmla="*/ 2796946 h 3569462"/>
                <a:gd name="connsiteX3" fmla="*/ 0 w 1725214"/>
                <a:gd name="connsiteY3" fmla="*/ 3379250 h 3569462"/>
                <a:gd name="connsiteX0" fmla="*/ 1610436 w 1725401"/>
                <a:gd name="connsiteY0" fmla="*/ 194772 h 3569481"/>
                <a:gd name="connsiteX1" fmla="*/ 90985 w 1725401"/>
                <a:gd name="connsiteY1" fmla="*/ 717937 h 3569481"/>
                <a:gd name="connsiteX2" fmla="*/ 1724167 w 1725401"/>
                <a:gd name="connsiteY2" fmla="*/ 2796946 h 3569481"/>
                <a:gd name="connsiteX3" fmla="*/ 0 w 1725401"/>
                <a:gd name="connsiteY3" fmla="*/ 3379250 h 3569481"/>
                <a:gd name="connsiteX0" fmla="*/ 1610436 w 1725387"/>
                <a:gd name="connsiteY0" fmla="*/ 170107 h 3544816"/>
                <a:gd name="connsiteX1" fmla="*/ 90985 w 1725387"/>
                <a:gd name="connsiteY1" fmla="*/ 693272 h 3544816"/>
                <a:gd name="connsiteX2" fmla="*/ 1724167 w 1725387"/>
                <a:gd name="connsiteY2" fmla="*/ 2772281 h 3544816"/>
                <a:gd name="connsiteX3" fmla="*/ 0 w 1725387"/>
                <a:gd name="connsiteY3" fmla="*/ 3354585 h 3544816"/>
              </a:gdLst>
              <a:ahLst/>
              <a:cxnLst>
                <a:cxn ang="0">
                  <a:pos x="connsiteX0" y="connsiteY0"/>
                </a:cxn>
                <a:cxn ang="0">
                  <a:pos x="connsiteX1" y="connsiteY1"/>
                </a:cxn>
                <a:cxn ang="0">
                  <a:pos x="connsiteX2" y="connsiteY2"/>
                </a:cxn>
                <a:cxn ang="0">
                  <a:pos x="connsiteX3" y="connsiteY3"/>
                </a:cxn>
              </a:cxnLst>
              <a:rect l="l" t="t" r="r" b="b"/>
              <a:pathLst>
                <a:path w="1725387" h="3544816">
                  <a:moveTo>
                    <a:pt x="1610436" y="170107"/>
                  </a:moveTo>
                  <a:cubicBezTo>
                    <a:pt x="864359" y="-204447"/>
                    <a:pt x="234321" y="70327"/>
                    <a:pt x="90985" y="693272"/>
                  </a:cubicBezTo>
                  <a:cubicBezTo>
                    <a:pt x="-144789" y="1717958"/>
                    <a:pt x="1780667" y="1815552"/>
                    <a:pt x="1724167" y="2772281"/>
                  </a:cubicBezTo>
                  <a:cubicBezTo>
                    <a:pt x="1662160" y="3822254"/>
                    <a:pt x="291152" y="3566126"/>
                    <a:pt x="0" y="3354585"/>
                  </a:cubicBezTo>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cxnSp>
          <p:nvCxnSpPr>
            <p:cNvPr id="70" name="Straight Connector 69">
              <a:extLst>
                <a:ext uri="{FF2B5EF4-FFF2-40B4-BE49-F238E27FC236}">
                  <a16:creationId xmlns:a16="http://schemas.microsoft.com/office/drawing/2014/main" id="{BF2A3E98-28B2-40B7-969C-89FBA425A45E}"/>
                </a:ext>
              </a:extLst>
            </p:cNvPr>
            <p:cNvCxnSpPr>
              <a:cxnSpLocks/>
            </p:cNvCxnSpPr>
            <p:nvPr/>
          </p:nvCxnSpPr>
          <p:spPr>
            <a:xfrm>
              <a:off x="4186012" y="3329291"/>
              <a:ext cx="0" cy="695630"/>
            </a:xfrm>
            <a:prstGeom prst="line">
              <a:avLst/>
            </a:prstGeom>
            <a:ln w="190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72" name="Rectangle 71">
            <a:extLst>
              <a:ext uri="{FF2B5EF4-FFF2-40B4-BE49-F238E27FC236}">
                <a16:creationId xmlns:a16="http://schemas.microsoft.com/office/drawing/2014/main" id="{9F89A7BC-5B95-442F-9381-09D98A284D84}"/>
              </a:ext>
            </a:extLst>
          </p:cNvPr>
          <p:cNvSpPr/>
          <p:nvPr/>
        </p:nvSpPr>
        <p:spPr>
          <a:xfrm>
            <a:off x="3103405" y="2291527"/>
            <a:ext cx="3157570" cy="367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algn="ctr" defTabSz="914225"/>
            <a:r>
              <a:rPr lang="en-US" b="1" dirty="0">
                <a:solidFill>
                  <a:srgbClr val="FFFFFF"/>
                </a:solidFill>
                <a:latin typeface="Segoe UI Semibold" panose="020B0702040204020203" pitchFamily="34" charset="0"/>
                <a:cs typeface="Segoe UI Semibold" panose="020B0702040204020203" pitchFamily="34" charset="0"/>
              </a:rPr>
              <a:t>Privacy and Trust</a:t>
            </a:r>
          </a:p>
        </p:txBody>
      </p:sp>
      <p:cxnSp>
        <p:nvCxnSpPr>
          <p:cNvPr id="73" name="Straight Connector 72">
            <a:extLst>
              <a:ext uri="{FF2B5EF4-FFF2-40B4-BE49-F238E27FC236}">
                <a16:creationId xmlns:a16="http://schemas.microsoft.com/office/drawing/2014/main" id="{12305881-69F8-4148-9641-0AB7A3968D33}"/>
              </a:ext>
            </a:extLst>
          </p:cNvPr>
          <p:cNvCxnSpPr/>
          <p:nvPr/>
        </p:nvCxnSpPr>
        <p:spPr>
          <a:xfrm>
            <a:off x="6260976" y="2291527"/>
            <a:ext cx="0" cy="2742811"/>
          </a:xfrm>
          <a:prstGeom prst="line">
            <a:avLst/>
          </a:prstGeom>
          <a:ln w="9525">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71368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29C588-99F2-4826-9B20-9EE4E2BB880F}"/>
              </a:ext>
            </a:extLst>
          </p:cNvPr>
          <p:cNvSpPr/>
          <p:nvPr/>
        </p:nvSpPr>
        <p:spPr bwMode="auto">
          <a:xfrm>
            <a:off x="-24772" y="-12609"/>
            <a:ext cx="12216773" cy="885305"/>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rgbClr val="000000"/>
              </a:solidFill>
              <a:latin typeface="Segoe UI"/>
            </a:endParaRPr>
          </a:p>
        </p:txBody>
      </p:sp>
      <p:sp>
        <p:nvSpPr>
          <p:cNvPr id="4" name="Rectangle 3">
            <a:extLst>
              <a:ext uri="{FF2B5EF4-FFF2-40B4-BE49-F238E27FC236}">
                <a16:creationId xmlns:a16="http://schemas.microsoft.com/office/drawing/2014/main" id="{0EAF52E6-511B-4119-9E59-CE544F79C18E}"/>
              </a:ext>
            </a:extLst>
          </p:cNvPr>
          <p:cNvSpPr/>
          <p:nvPr/>
        </p:nvSpPr>
        <p:spPr>
          <a:xfrm>
            <a:off x="6167691" y="1039859"/>
            <a:ext cx="3263095" cy="362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algn="ctr" defTabSz="914225"/>
            <a:r>
              <a:rPr lang="en-US" sz="1765" kern="0" spc="100" dirty="0">
                <a:solidFill>
                  <a:srgbClr val="FFFFFF"/>
                </a:solidFill>
                <a:latin typeface="Segoe UI Semibold" charset="0"/>
                <a:cs typeface="Segoe UI Semibold" charset="0"/>
              </a:rPr>
              <a:t>Seamless and compatible</a:t>
            </a:r>
          </a:p>
        </p:txBody>
      </p:sp>
      <p:sp>
        <p:nvSpPr>
          <p:cNvPr id="5" name="Rectangle 4">
            <a:extLst>
              <a:ext uri="{FF2B5EF4-FFF2-40B4-BE49-F238E27FC236}">
                <a16:creationId xmlns:a16="http://schemas.microsoft.com/office/drawing/2014/main" id="{7C0408DC-D536-4BE3-9D6D-1E9FDC215FD8}"/>
              </a:ext>
            </a:extLst>
          </p:cNvPr>
          <p:cNvSpPr/>
          <p:nvPr/>
        </p:nvSpPr>
        <p:spPr>
          <a:xfrm>
            <a:off x="363666" y="1026348"/>
            <a:ext cx="2688145" cy="362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algn="ctr" defTabSz="914225"/>
            <a:r>
              <a:rPr lang="en-US" sz="1765" kern="0" spc="100" dirty="0">
                <a:solidFill>
                  <a:srgbClr val="FFFFFF"/>
                </a:solidFill>
                <a:latin typeface="Segoe UI Semibold" charset="0"/>
                <a:cs typeface="Segoe UI Semibold" charset="0"/>
              </a:rPr>
              <a:t>Intelligent DBaaS</a:t>
            </a:r>
          </a:p>
        </p:txBody>
      </p:sp>
      <p:sp>
        <p:nvSpPr>
          <p:cNvPr id="6" name="Rectangle 5">
            <a:extLst>
              <a:ext uri="{FF2B5EF4-FFF2-40B4-BE49-F238E27FC236}">
                <a16:creationId xmlns:a16="http://schemas.microsoft.com/office/drawing/2014/main" id="{055C2F0F-2349-4C29-B4BD-5DFB150873A9}"/>
              </a:ext>
            </a:extLst>
          </p:cNvPr>
          <p:cNvSpPr/>
          <p:nvPr/>
        </p:nvSpPr>
        <p:spPr>
          <a:xfrm>
            <a:off x="9570709" y="1054129"/>
            <a:ext cx="2308745" cy="362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algn="ctr" defTabSz="914225"/>
            <a:r>
              <a:rPr lang="en-US" sz="1765" kern="0" spc="100" dirty="0">
                <a:ln w="3175">
                  <a:noFill/>
                </a:ln>
                <a:solidFill>
                  <a:srgbClr val="FFFFFF"/>
                </a:solidFill>
                <a:latin typeface="Segoe UI Semibold" charset="0"/>
                <a:cs typeface="Segoe UI Semibold" charset="0"/>
              </a:rPr>
              <a:t>Competitive TCO</a:t>
            </a:r>
          </a:p>
        </p:txBody>
      </p:sp>
      <p:grpSp>
        <p:nvGrpSpPr>
          <p:cNvPr id="42" name="Group 41">
            <a:extLst>
              <a:ext uri="{FF2B5EF4-FFF2-40B4-BE49-F238E27FC236}">
                <a16:creationId xmlns:a16="http://schemas.microsoft.com/office/drawing/2014/main" id="{089551D5-916D-421F-A97F-AEC5C7E8351A}"/>
              </a:ext>
            </a:extLst>
          </p:cNvPr>
          <p:cNvGrpSpPr/>
          <p:nvPr/>
        </p:nvGrpSpPr>
        <p:grpSpPr>
          <a:xfrm>
            <a:off x="3217104" y="1092136"/>
            <a:ext cx="227502" cy="240546"/>
            <a:chOff x="4157799" y="3257006"/>
            <a:chExt cx="1065166" cy="1065166"/>
          </a:xfrm>
        </p:grpSpPr>
        <p:sp>
          <p:nvSpPr>
            <p:cNvPr id="33" name="Freeform: Shape 32">
              <a:extLst>
                <a:ext uri="{FF2B5EF4-FFF2-40B4-BE49-F238E27FC236}">
                  <a16:creationId xmlns:a16="http://schemas.microsoft.com/office/drawing/2014/main" id="{84CAA8C5-59E5-476C-B8E8-5B4255597191}"/>
                </a:ext>
              </a:extLst>
            </p:cNvPr>
            <p:cNvSpPr/>
            <p:nvPr/>
          </p:nvSpPr>
          <p:spPr bwMode="auto">
            <a:xfrm>
              <a:off x="4157799" y="3257006"/>
              <a:ext cx="1065166" cy="1065166"/>
            </a:xfrm>
            <a:custGeom>
              <a:avLst/>
              <a:gdLst>
                <a:gd name="connsiteX0" fmla="*/ 0 w 1532164"/>
                <a:gd name="connsiteY0" fmla="*/ 0 h 1532164"/>
                <a:gd name="connsiteX1" fmla="*/ 1532164 w 1532164"/>
                <a:gd name="connsiteY1" fmla="*/ 0 h 1532164"/>
                <a:gd name="connsiteX2" fmla="*/ 1532164 w 1532164"/>
                <a:gd name="connsiteY2" fmla="*/ 1532164 h 1532164"/>
                <a:gd name="connsiteX3" fmla="*/ 578647 w 1532164"/>
                <a:gd name="connsiteY3" fmla="*/ 1532164 h 1532164"/>
                <a:gd name="connsiteX4" fmla="*/ 578647 w 1532164"/>
                <a:gd name="connsiteY4" fmla="*/ 963624 h 1532164"/>
                <a:gd name="connsiteX5" fmla="*/ 0 w 1532164"/>
                <a:gd name="connsiteY5" fmla="*/ 963624 h 1532164"/>
                <a:gd name="connsiteX6" fmla="*/ 0 w 1532164"/>
                <a:gd name="connsiteY6" fmla="*/ 0 h 1532164"/>
                <a:gd name="connsiteX0" fmla="*/ 578647 w 1532164"/>
                <a:gd name="connsiteY0" fmla="*/ 963624 h 1532164"/>
                <a:gd name="connsiteX1" fmla="*/ 0 w 1532164"/>
                <a:gd name="connsiteY1" fmla="*/ 963624 h 1532164"/>
                <a:gd name="connsiteX2" fmla="*/ 0 w 1532164"/>
                <a:gd name="connsiteY2" fmla="*/ 0 h 1532164"/>
                <a:gd name="connsiteX3" fmla="*/ 1532164 w 1532164"/>
                <a:gd name="connsiteY3" fmla="*/ 0 h 1532164"/>
                <a:gd name="connsiteX4" fmla="*/ 1532164 w 1532164"/>
                <a:gd name="connsiteY4" fmla="*/ 1532164 h 1532164"/>
                <a:gd name="connsiteX5" fmla="*/ 578647 w 1532164"/>
                <a:gd name="connsiteY5" fmla="*/ 1532164 h 1532164"/>
                <a:gd name="connsiteX6" fmla="*/ 670087 w 1532164"/>
                <a:gd name="connsiteY6" fmla="*/ 1055064 h 1532164"/>
                <a:gd name="connsiteX0" fmla="*/ 578647 w 1532164"/>
                <a:gd name="connsiteY0" fmla="*/ 963624 h 1532164"/>
                <a:gd name="connsiteX1" fmla="*/ 0 w 1532164"/>
                <a:gd name="connsiteY1" fmla="*/ 963624 h 1532164"/>
                <a:gd name="connsiteX2" fmla="*/ 0 w 1532164"/>
                <a:gd name="connsiteY2" fmla="*/ 0 h 1532164"/>
                <a:gd name="connsiteX3" fmla="*/ 1532164 w 1532164"/>
                <a:gd name="connsiteY3" fmla="*/ 0 h 1532164"/>
                <a:gd name="connsiteX4" fmla="*/ 1532164 w 1532164"/>
                <a:gd name="connsiteY4" fmla="*/ 1532164 h 1532164"/>
                <a:gd name="connsiteX5" fmla="*/ 578647 w 1532164"/>
                <a:gd name="connsiteY5" fmla="*/ 1532164 h 1532164"/>
                <a:gd name="connsiteX0" fmla="*/ 0 w 1532164"/>
                <a:gd name="connsiteY0" fmla="*/ 963624 h 1532164"/>
                <a:gd name="connsiteX1" fmla="*/ 0 w 1532164"/>
                <a:gd name="connsiteY1" fmla="*/ 0 h 1532164"/>
                <a:gd name="connsiteX2" fmla="*/ 1532164 w 1532164"/>
                <a:gd name="connsiteY2" fmla="*/ 0 h 1532164"/>
                <a:gd name="connsiteX3" fmla="*/ 1532164 w 1532164"/>
                <a:gd name="connsiteY3" fmla="*/ 1532164 h 1532164"/>
                <a:gd name="connsiteX4" fmla="*/ 578647 w 1532164"/>
                <a:gd name="connsiteY4" fmla="*/ 1532164 h 1532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164" h="1532164">
                  <a:moveTo>
                    <a:pt x="0" y="963624"/>
                  </a:moveTo>
                  <a:lnTo>
                    <a:pt x="0" y="0"/>
                  </a:lnTo>
                  <a:lnTo>
                    <a:pt x="1532164" y="0"/>
                  </a:lnTo>
                  <a:lnTo>
                    <a:pt x="1532164" y="1532164"/>
                  </a:lnTo>
                  <a:lnTo>
                    <a:pt x="578647" y="1532164"/>
                  </a:lnTo>
                </a:path>
              </a:pathLst>
            </a:custGeom>
            <a:noFill/>
            <a:ln w="15875">
              <a:solidFill>
                <a:schemeClr val="bg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grpSp>
          <p:nvGrpSpPr>
            <p:cNvPr id="40" name="Group 39">
              <a:extLst>
                <a:ext uri="{FF2B5EF4-FFF2-40B4-BE49-F238E27FC236}">
                  <a16:creationId xmlns:a16="http://schemas.microsoft.com/office/drawing/2014/main" id="{49436C3A-AB93-4A51-B155-A455E4D669FC}"/>
                </a:ext>
              </a:extLst>
            </p:cNvPr>
            <p:cNvGrpSpPr/>
            <p:nvPr/>
          </p:nvGrpSpPr>
          <p:grpSpPr>
            <a:xfrm>
              <a:off x="4190341" y="3461656"/>
              <a:ext cx="836696" cy="828301"/>
              <a:chOff x="3924301" y="3326121"/>
              <a:chExt cx="1242014" cy="1229549"/>
            </a:xfrm>
          </p:grpSpPr>
          <p:sp>
            <p:nvSpPr>
              <p:cNvPr id="35" name="Freeform: Shape 34">
                <a:extLst>
                  <a:ext uri="{FF2B5EF4-FFF2-40B4-BE49-F238E27FC236}">
                    <a16:creationId xmlns:a16="http://schemas.microsoft.com/office/drawing/2014/main" id="{BA9851F2-273C-416D-811A-153E2E18BDFA}"/>
                  </a:ext>
                </a:extLst>
              </p:cNvPr>
              <p:cNvSpPr/>
              <p:nvPr/>
            </p:nvSpPr>
            <p:spPr bwMode="auto">
              <a:xfrm rot="10800000">
                <a:off x="4756384" y="3326121"/>
                <a:ext cx="409931" cy="402771"/>
              </a:xfrm>
              <a:custGeom>
                <a:avLst/>
                <a:gdLst>
                  <a:gd name="connsiteX0" fmla="*/ 0 w 578647"/>
                  <a:gd name="connsiteY0" fmla="*/ 0 h 568540"/>
                  <a:gd name="connsiteX1" fmla="*/ 578647 w 578647"/>
                  <a:gd name="connsiteY1" fmla="*/ 0 h 568540"/>
                  <a:gd name="connsiteX2" fmla="*/ 578647 w 578647"/>
                  <a:gd name="connsiteY2" fmla="*/ 568540 h 568540"/>
                  <a:gd name="connsiteX3" fmla="*/ 0 w 578647"/>
                  <a:gd name="connsiteY3" fmla="*/ 568540 h 568540"/>
                  <a:gd name="connsiteX4" fmla="*/ 0 w 578647"/>
                  <a:gd name="connsiteY4" fmla="*/ 0 h 568540"/>
                  <a:gd name="connsiteX0" fmla="*/ 578647 w 670087"/>
                  <a:gd name="connsiteY0" fmla="*/ 0 h 568540"/>
                  <a:gd name="connsiteX1" fmla="*/ 578647 w 670087"/>
                  <a:gd name="connsiteY1" fmla="*/ 568540 h 568540"/>
                  <a:gd name="connsiteX2" fmla="*/ 0 w 670087"/>
                  <a:gd name="connsiteY2" fmla="*/ 568540 h 568540"/>
                  <a:gd name="connsiteX3" fmla="*/ 0 w 670087"/>
                  <a:gd name="connsiteY3" fmla="*/ 0 h 568540"/>
                  <a:gd name="connsiteX4" fmla="*/ 670087 w 670087"/>
                  <a:gd name="connsiteY4" fmla="*/ 91440 h 568540"/>
                  <a:gd name="connsiteX0" fmla="*/ 578647 w 578647"/>
                  <a:gd name="connsiteY0" fmla="*/ 0 h 568540"/>
                  <a:gd name="connsiteX1" fmla="*/ 578647 w 578647"/>
                  <a:gd name="connsiteY1" fmla="*/ 568540 h 568540"/>
                  <a:gd name="connsiteX2" fmla="*/ 0 w 578647"/>
                  <a:gd name="connsiteY2" fmla="*/ 568540 h 568540"/>
                  <a:gd name="connsiteX3" fmla="*/ 0 w 578647"/>
                  <a:gd name="connsiteY3" fmla="*/ 0 h 568540"/>
                  <a:gd name="connsiteX0" fmla="*/ 578647 w 578647"/>
                  <a:gd name="connsiteY0" fmla="*/ 568540 h 568540"/>
                  <a:gd name="connsiteX1" fmla="*/ 0 w 578647"/>
                  <a:gd name="connsiteY1" fmla="*/ 568540 h 568540"/>
                  <a:gd name="connsiteX2" fmla="*/ 0 w 578647"/>
                  <a:gd name="connsiteY2" fmla="*/ 0 h 568540"/>
                </a:gdLst>
                <a:ahLst/>
                <a:cxnLst>
                  <a:cxn ang="0">
                    <a:pos x="connsiteX0" y="connsiteY0"/>
                  </a:cxn>
                  <a:cxn ang="0">
                    <a:pos x="connsiteX1" y="connsiteY1"/>
                  </a:cxn>
                  <a:cxn ang="0">
                    <a:pos x="connsiteX2" y="connsiteY2"/>
                  </a:cxn>
                </a:cxnLst>
                <a:rect l="l" t="t" r="r" b="b"/>
                <a:pathLst>
                  <a:path w="578647" h="568540">
                    <a:moveTo>
                      <a:pt x="578647" y="568540"/>
                    </a:moveTo>
                    <a:lnTo>
                      <a:pt x="0" y="568540"/>
                    </a:lnTo>
                    <a:lnTo>
                      <a:pt x="0" y="0"/>
                    </a:lnTo>
                  </a:path>
                </a:pathLst>
              </a:custGeom>
              <a:noFill/>
              <a:ln w="15875">
                <a:solidFill>
                  <a:schemeClr val="bg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cxnSp>
            <p:nvCxnSpPr>
              <p:cNvPr id="37" name="Straight Connector 36">
                <a:extLst>
                  <a:ext uri="{FF2B5EF4-FFF2-40B4-BE49-F238E27FC236}">
                    <a16:creationId xmlns:a16="http://schemas.microsoft.com/office/drawing/2014/main" id="{AF2B4123-B743-4587-A5B2-9D4426F68FD9}"/>
                  </a:ext>
                </a:extLst>
              </p:cNvPr>
              <p:cNvCxnSpPr>
                <a:cxnSpLocks/>
                <a:endCxn id="35" idx="1"/>
              </p:cNvCxnSpPr>
              <p:nvPr/>
            </p:nvCxnSpPr>
            <p:spPr>
              <a:xfrm flipV="1">
                <a:off x="3924301" y="3326121"/>
                <a:ext cx="1242014" cy="1229549"/>
              </a:xfrm>
              <a:prstGeom prst="line">
                <a:avLst/>
              </a:prstGeom>
              <a:ln w="15875">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1" name="Group 50">
            <a:extLst>
              <a:ext uri="{FF2B5EF4-FFF2-40B4-BE49-F238E27FC236}">
                <a16:creationId xmlns:a16="http://schemas.microsoft.com/office/drawing/2014/main" id="{6F5BD5E6-3A70-4FE9-B4D1-BD73CBF83C38}"/>
              </a:ext>
            </a:extLst>
          </p:cNvPr>
          <p:cNvGrpSpPr/>
          <p:nvPr/>
        </p:nvGrpSpPr>
        <p:grpSpPr>
          <a:xfrm>
            <a:off x="5970264" y="1048981"/>
            <a:ext cx="248827" cy="316806"/>
            <a:chOff x="-89366" y="1982903"/>
            <a:chExt cx="986802" cy="1223863"/>
          </a:xfrm>
        </p:grpSpPr>
        <p:sp>
          <p:nvSpPr>
            <p:cNvPr id="52" name="Freeform 5">
              <a:extLst>
                <a:ext uri="{FF2B5EF4-FFF2-40B4-BE49-F238E27FC236}">
                  <a16:creationId xmlns:a16="http://schemas.microsoft.com/office/drawing/2014/main" id="{D4DEBF64-732A-4D24-98F1-04F4234701C4}"/>
                </a:ext>
              </a:extLst>
            </p:cNvPr>
            <p:cNvSpPr>
              <a:spLocks/>
            </p:cNvSpPr>
            <p:nvPr/>
          </p:nvSpPr>
          <p:spPr bwMode="auto">
            <a:xfrm>
              <a:off x="-89366" y="2107542"/>
              <a:ext cx="555856" cy="565226"/>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53" name="Freeform 6">
              <a:extLst>
                <a:ext uri="{FF2B5EF4-FFF2-40B4-BE49-F238E27FC236}">
                  <a16:creationId xmlns:a16="http://schemas.microsoft.com/office/drawing/2014/main" id="{943A573A-93B8-4871-881A-8A911EB0C20A}"/>
                </a:ext>
              </a:extLst>
            </p:cNvPr>
            <p:cNvSpPr>
              <a:spLocks/>
            </p:cNvSpPr>
            <p:nvPr/>
          </p:nvSpPr>
          <p:spPr bwMode="auto">
            <a:xfrm>
              <a:off x="266632" y="2538488"/>
              <a:ext cx="630804" cy="552734"/>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54" name="Freeform 7">
              <a:extLst>
                <a:ext uri="{FF2B5EF4-FFF2-40B4-BE49-F238E27FC236}">
                  <a16:creationId xmlns:a16="http://schemas.microsoft.com/office/drawing/2014/main" id="{54394F99-B558-4241-93A8-A874956D2B6D}"/>
                </a:ext>
              </a:extLst>
            </p:cNvPr>
            <p:cNvSpPr>
              <a:spLocks/>
            </p:cNvSpPr>
            <p:nvPr/>
          </p:nvSpPr>
          <p:spPr bwMode="auto">
            <a:xfrm>
              <a:off x="263510" y="2988171"/>
              <a:ext cx="140525" cy="218595"/>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55" name="Freeform 8">
              <a:extLst>
                <a:ext uri="{FF2B5EF4-FFF2-40B4-BE49-F238E27FC236}">
                  <a16:creationId xmlns:a16="http://schemas.microsoft.com/office/drawing/2014/main" id="{35DDDE5F-6124-4C1E-9DB6-34C61B6722C4}"/>
                </a:ext>
              </a:extLst>
            </p:cNvPr>
            <p:cNvSpPr>
              <a:spLocks/>
            </p:cNvSpPr>
            <p:nvPr/>
          </p:nvSpPr>
          <p:spPr bwMode="auto">
            <a:xfrm rot="20858347">
              <a:off x="333774" y="1982903"/>
              <a:ext cx="140525" cy="221719"/>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0000"/>
                </a:solidFill>
                <a:latin typeface="Segoe UI"/>
              </a:endParaRPr>
            </a:p>
          </p:txBody>
        </p:sp>
        <p:sp>
          <p:nvSpPr>
            <p:cNvPr id="56" name="Oval 10">
              <a:extLst>
                <a:ext uri="{FF2B5EF4-FFF2-40B4-BE49-F238E27FC236}">
                  <a16:creationId xmlns:a16="http://schemas.microsoft.com/office/drawing/2014/main" id="{19EA1391-8C47-49A4-A579-2A096BFFC780}"/>
                </a:ext>
              </a:extLst>
            </p:cNvPr>
            <p:cNvSpPr>
              <a:spLocks noChangeArrowheads="1"/>
            </p:cNvSpPr>
            <p:nvPr/>
          </p:nvSpPr>
          <p:spPr bwMode="auto">
            <a:xfrm>
              <a:off x="-72112" y="2783587"/>
              <a:ext cx="235676" cy="233113"/>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57" name="Rectangle 56">
              <a:extLst>
                <a:ext uri="{FF2B5EF4-FFF2-40B4-BE49-F238E27FC236}">
                  <a16:creationId xmlns:a16="http://schemas.microsoft.com/office/drawing/2014/main" id="{567DCCC5-AB4E-496C-AF42-29316C2B62A4}"/>
                </a:ext>
              </a:extLst>
            </p:cNvPr>
            <p:cNvSpPr/>
            <p:nvPr/>
          </p:nvSpPr>
          <p:spPr bwMode="auto">
            <a:xfrm>
              <a:off x="609219" y="2200614"/>
              <a:ext cx="202980" cy="202980"/>
            </a:xfrm>
            <a:prstGeom prst="rect">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err="1">
                <a:solidFill>
                  <a:srgbClr val="000000"/>
                </a:solidFill>
                <a:latin typeface="Segoe UI"/>
              </a:endParaRPr>
            </a:p>
          </p:txBody>
        </p:sp>
      </p:grpSp>
      <p:sp>
        <p:nvSpPr>
          <p:cNvPr id="66" name="Title 1">
            <a:extLst>
              <a:ext uri="{FF2B5EF4-FFF2-40B4-BE49-F238E27FC236}">
                <a16:creationId xmlns:a16="http://schemas.microsoft.com/office/drawing/2014/main" id="{5F2E4DD6-49FE-442F-B3C3-1CE67E59DFEA}"/>
              </a:ext>
            </a:extLst>
          </p:cNvPr>
          <p:cNvSpPr>
            <a:spLocks noGrp="1"/>
          </p:cNvSpPr>
          <p:nvPr>
            <p:ph type="title"/>
          </p:nvPr>
        </p:nvSpPr>
        <p:spPr>
          <a:xfrm>
            <a:off x="197932" y="156763"/>
            <a:ext cx="11985053" cy="899537"/>
          </a:xfrm>
        </p:spPr>
        <p:txBody>
          <a:bodyPr/>
          <a:lstStyle/>
          <a:p>
            <a:pPr algn="ctr"/>
            <a:r>
              <a:rPr lang="en-US" sz="3137" cap="all" spc="500">
                <a:solidFill>
                  <a:schemeClr val="tx2"/>
                </a:solidFill>
                <a:latin typeface="Segoe UI Semilight" charset="0"/>
                <a:cs typeface="Segoe UI Semilight" charset="0"/>
              </a:rPr>
              <a:t>(2016) </a:t>
            </a:r>
            <a:r>
              <a:rPr lang="en-US" sz="3137" cap="all" spc="500" dirty="0">
                <a:solidFill>
                  <a:schemeClr val="tx2"/>
                </a:solidFill>
                <a:latin typeface="Segoe UI Semilight" charset="0"/>
                <a:cs typeface="Segoe UI Semilight" charset="0"/>
              </a:rPr>
              <a:t>Azure SQL Database </a:t>
            </a:r>
            <a:br>
              <a:rPr lang="en-US" sz="3137" cap="all" spc="500" dirty="0">
                <a:solidFill>
                  <a:schemeClr val="tx2"/>
                </a:solidFill>
                <a:latin typeface="Segoe UI Semilight" charset="0"/>
                <a:cs typeface="Segoe UI Semilight" charset="0"/>
              </a:rPr>
            </a:br>
            <a:br>
              <a:rPr lang="en-US" sz="1765" kern="0" spc="100" dirty="0">
                <a:solidFill>
                  <a:schemeClr val="tx2"/>
                </a:solidFill>
                <a:latin typeface="Segoe UI Semibold" charset="0"/>
                <a:cs typeface="Segoe UI Semibold" charset="0"/>
              </a:rPr>
            </a:br>
            <a:endParaRPr lang="en-US" sz="1765" kern="0" spc="100" dirty="0">
              <a:solidFill>
                <a:schemeClr val="tx2"/>
              </a:solidFill>
              <a:latin typeface="Segoe UI Semibold" charset="0"/>
              <a:cs typeface="Segoe UI Semibold" charset="0"/>
            </a:endParaRPr>
          </a:p>
        </p:txBody>
      </p:sp>
      <p:grpSp>
        <p:nvGrpSpPr>
          <p:cNvPr id="36" name="Group 35">
            <a:extLst>
              <a:ext uri="{FF2B5EF4-FFF2-40B4-BE49-F238E27FC236}">
                <a16:creationId xmlns:a16="http://schemas.microsoft.com/office/drawing/2014/main" id="{FE176CE3-0A9D-45D1-B842-C0D872BF70B6}"/>
              </a:ext>
            </a:extLst>
          </p:cNvPr>
          <p:cNvGrpSpPr/>
          <p:nvPr/>
        </p:nvGrpSpPr>
        <p:grpSpPr>
          <a:xfrm>
            <a:off x="228578" y="1047766"/>
            <a:ext cx="334373" cy="326601"/>
            <a:chOff x="3097731" y="3411002"/>
            <a:chExt cx="3912131" cy="3332680"/>
          </a:xfrm>
        </p:grpSpPr>
        <p:sp>
          <p:nvSpPr>
            <p:cNvPr id="38" name="Freeform: Shape 399">
              <a:extLst>
                <a:ext uri="{FF2B5EF4-FFF2-40B4-BE49-F238E27FC236}">
                  <a16:creationId xmlns:a16="http://schemas.microsoft.com/office/drawing/2014/main" id="{479EC115-F4EF-4688-83FD-AA048A4ACBD6}"/>
                </a:ext>
              </a:extLst>
            </p:cNvPr>
            <p:cNvSpPr/>
            <p:nvPr/>
          </p:nvSpPr>
          <p:spPr bwMode="auto">
            <a:xfrm>
              <a:off x="3097731" y="3411002"/>
              <a:ext cx="3912131" cy="3326728"/>
            </a:xfrm>
            <a:custGeom>
              <a:avLst/>
              <a:gdLst>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009850 w 4510936"/>
                <a:gd name="connsiteY14" fmla="*/ 3835942 h 3835942"/>
                <a:gd name="connsiteX15" fmla="*/ 1789458 w 4510936"/>
                <a:gd name="connsiteY15" fmla="*/ 3835942 h 3835942"/>
                <a:gd name="connsiteX16" fmla="*/ 1792429 w 4510936"/>
                <a:gd name="connsiteY16" fmla="*/ 3610035 h 3835942"/>
                <a:gd name="connsiteX17" fmla="*/ 1770743 w 4510936"/>
                <a:gd name="connsiteY17" fmla="*/ 2832642 h 3835942"/>
                <a:gd name="connsiteX18" fmla="*/ 1081314 w 4510936"/>
                <a:gd name="connsiteY18" fmla="*/ 2061571 h 3835942"/>
                <a:gd name="connsiteX19" fmla="*/ 1562100 w 4510936"/>
                <a:gd name="connsiteY19" fmla="*/ 1896471 h 3835942"/>
                <a:gd name="connsiteX20" fmla="*/ 1034142 w 4510936"/>
                <a:gd name="connsiteY20" fmla="*/ 1807570 h 3835942"/>
                <a:gd name="connsiteX21" fmla="*/ 1676400 w 4510936"/>
                <a:gd name="connsiteY21" fmla="*/ 10963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2674257 w 4510936"/>
                <a:gd name="connsiteY25" fmla="*/ 1626142 h 3835942"/>
                <a:gd name="connsiteX26" fmla="*/ 2238828 w 4510936"/>
                <a:gd name="connsiteY26" fmla="*/ 16515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458028 w 4510936"/>
                <a:gd name="connsiteY30" fmla="*/ 1742256 h 3835942"/>
                <a:gd name="connsiteX31" fmla="*/ 3721099 w 4510936"/>
                <a:gd name="connsiteY31" fmla="*/ 2203084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010556 w 4510936"/>
                <a:gd name="connsiteY42" fmla="*/ 677270 h 3835942"/>
                <a:gd name="connsiteX43" fmla="*/ 1248228 w 4510936"/>
                <a:gd name="connsiteY43" fmla="*/ 994770 h 3835942"/>
                <a:gd name="connsiteX44" fmla="*/ 801914 w 4510936"/>
                <a:gd name="connsiteY44" fmla="*/ 1571713 h 3835942"/>
                <a:gd name="connsiteX45" fmla="*/ 542471 w 4510936"/>
                <a:gd name="connsiteY45" fmla="*/ 1132656 h 3835942"/>
                <a:gd name="connsiteX46" fmla="*/ 812800 w 4510936"/>
                <a:gd name="connsiteY46" fmla="*/ 1843856 h 3835942"/>
                <a:gd name="connsiteX47" fmla="*/ 925285 w 4510936"/>
                <a:gd name="connsiteY47" fmla="*/ 2235742 h 3835942"/>
                <a:gd name="connsiteX48" fmla="*/ 651328 w 4510936"/>
                <a:gd name="connsiteY48" fmla="*/ 2607670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556657 w 4510936"/>
                <a:gd name="connsiteY49" fmla="*/ 2852599 h 3835942"/>
                <a:gd name="connsiteX50" fmla="*/ 1580115 w 4510936"/>
                <a:gd name="connsiteY50" fmla="*/ 3729193 h 3835942"/>
                <a:gd name="connsiteX51" fmla="*/ 1581642 w 4510936"/>
                <a:gd name="connsiteY51" fmla="*/ 3835942 h 3835942"/>
                <a:gd name="connsiteX52" fmla="*/ 1113971 w 4510936"/>
                <a:gd name="connsiteY52" fmla="*/ 3835942 h 3835942"/>
                <a:gd name="connsiteX53" fmla="*/ 836413 w 4510936"/>
                <a:gd name="connsiteY53" fmla="*/ 3086585 h 3835942"/>
                <a:gd name="connsiteX54" fmla="*/ 116170 w 4510936"/>
                <a:gd name="connsiteY54" fmla="*/ 2308285 h 3835942"/>
                <a:gd name="connsiteX55" fmla="*/ 118297 w 4510936"/>
                <a:gd name="connsiteY55" fmla="*/ 2287181 h 3835942"/>
                <a:gd name="connsiteX56" fmla="*/ 98842 w 4510936"/>
                <a:gd name="connsiteY56" fmla="*/ 2263602 h 3835942"/>
                <a:gd name="connsiteX57" fmla="*/ 0 w 4510936"/>
                <a:gd name="connsiteY57" fmla="*/ 1940013 h 3835942"/>
                <a:gd name="connsiteX58" fmla="*/ 98842 w 4510936"/>
                <a:gd name="connsiteY58" fmla="*/ 1616424 h 3835942"/>
                <a:gd name="connsiteX59" fmla="*/ 158494 w 4510936"/>
                <a:gd name="connsiteY59" fmla="*/ 1544125 h 3835942"/>
                <a:gd name="connsiteX60" fmla="*/ 138294 w 4510936"/>
                <a:gd name="connsiteY60" fmla="*/ 1479051 h 3835942"/>
                <a:gd name="connsiteX61" fmla="*/ 124645 w 4510936"/>
                <a:gd name="connsiteY61" fmla="*/ 1343654 h 3835942"/>
                <a:gd name="connsiteX62" fmla="*/ 534966 w 4510936"/>
                <a:gd name="connsiteY62" fmla="*/ 724623 h 3835942"/>
                <a:gd name="connsiteX63" fmla="*/ 655270 w 4510936"/>
                <a:gd name="connsiteY63" fmla="*/ 687278 h 3835942"/>
                <a:gd name="connsiteX64" fmla="*/ 663127 w 4510936"/>
                <a:gd name="connsiteY64" fmla="*/ 661967 h 3835942"/>
                <a:gd name="connsiteX65" fmla="*/ 1282159 w 4510936"/>
                <a:gd name="connsiteY65" fmla="*/ 251645 h 3835942"/>
                <a:gd name="connsiteX66" fmla="*/ 1417556 w 4510936"/>
                <a:gd name="connsiteY66" fmla="*/ 265294 h 3835942"/>
                <a:gd name="connsiteX67" fmla="*/ 1421411 w 4510936"/>
                <a:gd name="connsiteY67" fmla="*/ 266491 h 3835942"/>
                <a:gd name="connsiteX68" fmla="*/ 1478933 w 4510936"/>
                <a:gd name="connsiteY68" fmla="*/ 196773 h 3835942"/>
                <a:gd name="connsiteX69" fmla="*/ 1953986 w 4510936"/>
                <a:gd name="connsiteY6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1556657 w 4510936"/>
                <a:gd name="connsiteY48" fmla="*/ 2852599 h 3835942"/>
                <a:gd name="connsiteX49" fmla="*/ 1580115 w 4510936"/>
                <a:gd name="connsiteY49" fmla="*/ 3729193 h 3835942"/>
                <a:gd name="connsiteX50" fmla="*/ 1581642 w 4510936"/>
                <a:gd name="connsiteY50" fmla="*/ 3835942 h 3835942"/>
                <a:gd name="connsiteX51" fmla="*/ 1113971 w 4510936"/>
                <a:gd name="connsiteY51" fmla="*/ 3835942 h 3835942"/>
                <a:gd name="connsiteX52" fmla="*/ 836413 w 4510936"/>
                <a:gd name="connsiteY52" fmla="*/ 3086585 h 3835942"/>
                <a:gd name="connsiteX53" fmla="*/ 116170 w 4510936"/>
                <a:gd name="connsiteY53" fmla="*/ 2308285 h 3835942"/>
                <a:gd name="connsiteX54" fmla="*/ 118297 w 4510936"/>
                <a:gd name="connsiteY54" fmla="*/ 2287181 h 3835942"/>
                <a:gd name="connsiteX55" fmla="*/ 98842 w 4510936"/>
                <a:gd name="connsiteY55" fmla="*/ 2263602 h 3835942"/>
                <a:gd name="connsiteX56" fmla="*/ 0 w 4510936"/>
                <a:gd name="connsiteY56" fmla="*/ 1940013 h 3835942"/>
                <a:gd name="connsiteX57" fmla="*/ 98842 w 4510936"/>
                <a:gd name="connsiteY57" fmla="*/ 1616424 h 3835942"/>
                <a:gd name="connsiteX58" fmla="*/ 158494 w 4510936"/>
                <a:gd name="connsiteY58" fmla="*/ 1544125 h 3835942"/>
                <a:gd name="connsiteX59" fmla="*/ 138294 w 4510936"/>
                <a:gd name="connsiteY59" fmla="*/ 1479051 h 3835942"/>
                <a:gd name="connsiteX60" fmla="*/ 124645 w 4510936"/>
                <a:gd name="connsiteY60" fmla="*/ 1343654 h 3835942"/>
                <a:gd name="connsiteX61" fmla="*/ 534966 w 4510936"/>
                <a:gd name="connsiteY61" fmla="*/ 724623 h 3835942"/>
                <a:gd name="connsiteX62" fmla="*/ 655270 w 4510936"/>
                <a:gd name="connsiteY62" fmla="*/ 687278 h 3835942"/>
                <a:gd name="connsiteX63" fmla="*/ 663127 w 4510936"/>
                <a:gd name="connsiteY63" fmla="*/ 661967 h 3835942"/>
                <a:gd name="connsiteX64" fmla="*/ 1282159 w 4510936"/>
                <a:gd name="connsiteY64" fmla="*/ 251645 h 3835942"/>
                <a:gd name="connsiteX65" fmla="*/ 1417556 w 4510936"/>
                <a:gd name="connsiteY65" fmla="*/ 265294 h 3835942"/>
                <a:gd name="connsiteX66" fmla="*/ 1421411 w 4510936"/>
                <a:gd name="connsiteY66" fmla="*/ 266491 h 3835942"/>
                <a:gd name="connsiteX67" fmla="*/ 1478933 w 4510936"/>
                <a:gd name="connsiteY67" fmla="*/ 196773 h 3835942"/>
                <a:gd name="connsiteX68" fmla="*/ 1953986 w 4510936"/>
                <a:gd name="connsiteY6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1556657 w 4510936"/>
                <a:gd name="connsiteY47" fmla="*/ 2852599 h 3835942"/>
                <a:gd name="connsiteX48" fmla="*/ 1580115 w 4510936"/>
                <a:gd name="connsiteY48" fmla="*/ 3729193 h 3835942"/>
                <a:gd name="connsiteX49" fmla="*/ 1581642 w 4510936"/>
                <a:gd name="connsiteY49" fmla="*/ 3835942 h 3835942"/>
                <a:gd name="connsiteX50" fmla="*/ 1113971 w 4510936"/>
                <a:gd name="connsiteY50" fmla="*/ 3835942 h 3835942"/>
                <a:gd name="connsiteX51" fmla="*/ 836413 w 4510936"/>
                <a:gd name="connsiteY51" fmla="*/ 3086585 h 3835942"/>
                <a:gd name="connsiteX52" fmla="*/ 116170 w 4510936"/>
                <a:gd name="connsiteY52" fmla="*/ 2308285 h 3835942"/>
                <a:gd name="connsiteX53" fmla="*/ 118297 w 4510936"/>
                <a:gd name="connsiteY53" fmla="*/ 2287181 h 3835942"/>
                <a:gd name="connsiteX54" fmla="*/ 98842 w 4510936"/>
                <a:gd name="connsiteY54" fmla="*/ 2263602 h 3835942"/>
                <a:gd name="connsiteX55" fmla="*/ 0 w 4510936"/>
                <a:gd name="connsiteY55" fmla="*/ 1940013 h 3835942"/>
                <a:gd name="connsiteX56" fmla="*/ 98842 w 4510936"/>
                <a:gd name="connsiteY56" fmla="*/ 1616424 h 3835942"/>
                <a:gd name="connsiteX57" fmla="*/ 158494 w 4510936"/>
                <a:gd name="connsiteY57" fmla="*/ 1544125 h 3835942"/>
                <a:gd name="connsiteX58" fmla="*/ 138294 w 4510936"/>
                <a:gd name="connsiteY58" fmla="*/ 1479051 h 3835942"/>
                <a:gd name="connsiteX59" fmla="*/ 124645 w 4510936"/>
                <a:gd name="connsiteY59" fmla="*/ 1343654 h 3835942"/>
                <a:gd name="connsiteX60" fmla="*/ 534966 w 4510936"/>
                <a:gd name="connsiteY60" fmla="*/ 724623 h 3835942"/>
                <a:gd name="connsiteX61" fmla="*/ 655270 w 4510936"/>
                <a:gd name="connsiteY61" fmla="*/ 687278 h 3835942"/>
                <a:gd name="connsiteX62" fmla="*/ 663127 w 4510936"/>
                <a:gd name="connsiteY62" fmla="*/ 661967 h 3835942"/>
                <a:gd name="connsiteX63" fmla="*/ 1282159 w 4510936"/>
                <a:gd name="connsiteY63" fmla="*/ 251645 h 3835942"/>
                <a:gd name="connsiteX64" fmla="*/ 1417556 w 4510936"/>
                <a:gd name="connsiteY64" fmla="*/ 265294 h 3835942"/>
                <a:gd name="connsiteX65" fmla="*/ 1421411 w 4510936"/>
                <a:gd name="connsiteY65" fmla="*/ 266491 h 3835942"/>
                <a:gd name="connsiteX66" fmla="*/ 1478933 w 4510936"/>
                <a:gd name="connsiteY66" fmla="*/ 196773 h 3835942"/>
                <a:gd name="connsiteX67" fmla="*/ 1953986 w 4510936"/>
                <a:gd name="connsiteY6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1556657 w 4510936"/>
                <a:gd name="connsiteY46" fmla="*/ 2852599 h 3835942"/>
                <a:gd name="connsiteX47" fmla="*/ 1580115 w 4510936"/>
                <a:gd name="connsiteY47" fmla="*/ 3729193 h 3835942"/>
                <a:gd name="connsiteX48" fmla="*/ 1581642 w 4510936"/>
                <a:gd name="connsiteY48" fmla="*/ 3835942 h 3835942"/>
                <a:gd name="connsiteX49" fmla="*/ 1113971 w 4510936"/>
                <a:gd name="connsiteY49" fmla="*/ 3835942 h 3835942"/>
                <a:gd name="connsiteX50" fmla="*/ 836413 w 4510936"/>
                <a:gd name="connsiteY50" fmla="*/ 3086585 h 3835942"/>
                <a:gd name="connsiteX51" fmla="*/ 116170 w 4510936"/>
                <a:gd name="connsiteY51" fmla="*/ 2308285 h 3835942"/>
                <a:gd name="connsiteX52" fmla="*/ 118297 w 4510936"/>
                <a:gd name="connsiteY52" fmla="*/ 2287181 h 3835942"/>
                <a:gd name="connsiteX53" fmla="*/ 98842 w 4510936"/>
                <a:gd name="connsiteY53" fmla="*/ 2263602 h 3835942"/>
                <a:gd name="connsiteX54" fmla="*/ 0 w 4510936"/>
                <a:gd name="connsiteY54" fmla="*/ 1940013 h 3835942"/>
                <a:gd name="connsiteX55" fmla="*/ 98842 w 4510936"/>
                <a:gd name="connsiteY55" fmla="*/ 1616424 h 3835942"/>
                <a:gd name="connsiteX56" fmla="*/ 158494 w 4510936"/>
                <a:gd name="connsiteY56" fmla="*/ 1544125 h 3835942"/>
                <a:gd name="connsiteX57" fmla="*/ 138294 w 4510936"/>
                <a:gd name="connsiteY57" fmla="*/ 1479051 h 3835942"/>
                <a:gd name="connsiteX58" fmla="*/ 124645 w 4510936"/>
                <a:gd name="connsiteY58" fmla="*/ 1343654 h 3835942"/>
                <a:gd name="connsiteX59" fmla="*/ 534966 w 4510936"/>
                <a:gd name="connsiteY59" fmla="*/ 724623 h 3835942"/>
                <a:gd name="connsiteX60" fmla="*/ 655270 w 4510936"/>
                <a:gd name="connsiteY60" fmla="*/ 687278 h 3835942"/>
                <a:gd name="connsiteX61" fmla="*/ 663127 w 4510936"/>
                <a:gd name="connsiteY61" fmla="*/ 661967 h 3835942"/>
                <a:gd name="connsiteX62" fmla="*/ 1282159 w 4510936"/>
                <a:gd name="connsiteY62" fmla="*/ 251645 h 3835942"/>
                <a:gd name="connsiteX63" fmla="*/ 1417556 w 4510936"/>
                <a:gd name="connsiteY63" fmla="*/ 265294 h 3835942"/>
                <a:gd name="connsiteX64" fmla="*/ 1421411 w 4510936"/>
                <a:gd name="connsiteY64" fmla="*/ 266491 h 3835942"/>
                <a:gd name="connsiteX65" fmla="*/ 1478933 w 4510936"/>
                <a:gd name="connsiteY65" fmla="*/ 196773 h 3835942"/>
                <a:gd name="connsiteX66" fmla="*/ 1953986 w 4510936"/>
                <a:gd name="connsiteY6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1556657 w 4510936"/>
                <a:gd name="connsiteY45" fmla="*/ 2852599 h 3835942"/>
                <a:gd name="connsiteX46" fmla="*/ 1580115 w 4510936"/>
                <a:gd name="connsiteY46" fmla="*/ 3729193 h 3835942"/>
                <a:gd name="connsiteX47" fmla="*/ 1581642 w 4510936"/>
                <a:gd name="connsiteY47" fmla="*/ 3835942 h 3835942"/>
                <a:gd name="connsiteX48" fmla="*/ 1113971 w 4510936"/>
                <a:gd name="connsiteY48" fmla="*/ 3835942 h 3835942"/>
                <a:gd name="connsiteX49" fmla="*/ 836413 w 4510936"/>
                <a:gd name="connsiteY49" fmla="*/ 3086585 h 3835942"/>
                <a:gd name="connsiteX50" fmla="*/ 116170 w 4510936"/>
                <a:gd name="connsiteY50" fmla="*/ 2308285 h 3835942"/>
                <a:gd name="connsiteX51" fmla="*/ 118297 w 4510936"/>
                <a:gd name="connsiteY51" fmla="*/ 2287181 h 3835942"/>
                <a:gd name="connsiteX52" fmla="*/ 98842 w 4510936"/>
                <a:gd name="connsiteY52" fmla="*/ 2263602 h 3835942"/>
                <a:gd name="connsiteX53" fmla="*/ 0 w 4510936"/>
                <a:gd name="connsiteY53" fmla="*/ 1940013 h 3835942"/>
                <a:gd name="connsiteX54" fmla="*/ 98842 w 4510936"/>
                <a:gd name="connsiteY54" fmla="*/ 1616424 h 3835942"/>
                <a:gd name="connsiteX55" fmla="*/ 158494 w 4510936"/>
                <a:gd name="connsiteY55" fmla="*/ 1544125 h 3835942"/>
                <a:gd name="connsiteX56" fmla="*/ 138294 w 4510936"/>
                <a:gd name="connsiteY56" fmla="*/ 1479051 h 3835942"/>
                <a:gd name="connsiteX57" fmla="*/ 124645 w 4510936"/>
                <a:gd name="connsiteY57" fmla="*/ 1343654 h 3835942"/>
                <a:gd name="connsiteX58" fmla="*/ 534966 w 4510936"/>
                <a:gd name="connsiteY58" fmla="*/ 724623 h 3835942"/>
                <a:gd name="connsiteX59" fmla="*/ 655270 w 4510936"/>
                <a:gd name="connsiteY59" fmla="*/ 687278 h 3835942"/>
                <a:gd name="connsiteX60" fmla="*/ 663127 w 4510936"/>
                <a:gd name="connsiteY60" fmla="*/ 661967 h 3835942"/>
                <a:gd name="connsiteX61" fmla="*/ 1282159 w 4510936"/>
                <a:gd name="connsiteY61" fmla="*/ 251645 h 3835942"/>
                <a:gd name="connsiteX62" fmla="*/ 1417556 w 4510936"/>
                <a:gd name="connsiteY62" fmla="*/ 265294 h 3835942"/>
                <a:gd name="connsiteX63" fmla="*/ 1421411 w 4510936"/>
                <a:gd name="connsiteY63" fmla="*/ 266491 h 3835942"/>
                <a:gd name="connsiteX64" fmla="*/ 1478933 w 4510936"/>
                <a:gd name="connsiteY64" fmla="*/ 196773 h 3835942"/>
                <a:gd name="connsiteX65" fmla="*/ 1953986 w 4510936"/>
                <a:gd name="connsiteY6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556657 w 4510936"/>
                <a:gd name="connsiteY44" fmla="*/ 2852599 h 3835942"/>
                <a:gd name="connsiteX45" fmla="*/ 1580115 w 4510936"/>
                <a:gd name="connsiteY45" fmla="*/ 3729193 h 3835942"/>
                <a:gd name="connsiteX46" fmla="*/ 1581642 w 4510936"/>
                <a:gd name="connsiteY46" fmla="*/ 3835942 h 3835942"/>
                <a:gd name="connsiteX47" fmla="*/ 1113971 w 4510936"/>
                <a:gd name="connsiteY47" fmla="*/ 3835942 h 3835942"/>
                <a:gd name="connsiteX48" fmla="*/ 836413 w 4510936"/>
                <a:gd name="connsiteY48" fmla="*/ 3086585 h 3835942"/>
                <a:gd name="connsiteX49" fmla="*/ 116170 w 4510936"/>
                <a:gd name="connsiteY49" fmla="*/ 2308285 h 3835942"/>
                <a:gd name="connsiteX50" fmla="*/ 118297 w 4510936"/>
                <a:gd name="connsiteY50" fmla="*/ 2287181 h 3835942"/>
                <a:gd name="connsiteX51" fmla="*/ 98842 w 4510936"/>
                <a:gd name="connsiteY51" fmla="*/ 2263602 h 3835942"/>
                <a:gd name="connsiteX52" fmla="*/ 0 w 4510936"/>
                <a:gd name="connsiteY52" fmla="*/ 1940013 h 3835942"/>
                <a:gd name="connsiteX53" fmla="*/ 98842 w 4510936"/>
                <a:gd name="connsiteY53" fmla="*/ 1616424 h 3835942"/>
                <a:gd name="connsiteX54" fmla="*/ 158494 w 4510936"/>
                <a:gd name="connsiteY54" fmla="*/ 1544125 h 3835942"/>
                <a:gd name="connsiteX55" fmla="*/ 138294 w 4510936"/>
                <a:gd name="connsiteY55" fmla="*/ 1479051 h 3835942"/>
                <a:gd name="connsiteX56" fmla="*/ 124645 w 4510936"/>
                <a:gd name="connsiteY56" fmla="*/ 1343654 h 3835942"/>
                <a:gd name="connsiteX57" fmla="*/ 534966 w 4510936"/>
                <a:gd name="connsiteY57" fmla="*/ 724623 h 3835942"/>
                <a:gd name="connsiteX58" fmla="*/ 655270 w 4510936"/>
                <a:gd name="connsiteY58" fmla="*/ 687278 h 3835942"/>
                <a:gd name="connsiteX59" fmla="*/ 663127 w 4510936"/>
                <a:gd name="connsiteY59" fmla="*/ 661967 h 3835942"/>
                <a:gd name="connsiteX60" fmla="*/ 1282159 w 4510936"/>
                <a:gd name="connsiteY60" fmla="*/ 251645 h 3835942"/>
                <a:gd name="connsiteX61" fmla="*/ 1417556 w 4510936"/>
                <a:gd name="connsiteY61" fmla="*/ 265294 h 3835942"/>
                <a:gd name="connsiteX62" fmla="*/ 1421411 w 4510936"/>
                <a:gd name="connsiteY62" fmla="*/ 266491 h 3835942"/>
                <a:gd name="connsiteX63" fmla="*/ 1478933 w 4510936"/>
                <a:gd name="connsiteY63" fmla="*/ 196773 h 3835942"/>
                <a:gd name="connsiteX64" fmla="*/ 1953986 w 4510936"/>
                <a:gd name="connsiteY6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556657 w 4510936"/>
                <a:gd name="connsiteY43" fmla="*/ 2852599 h 3835942"/>
                <a:gd name="connsiteX44" fmla="*/ 1580115 w 4510936"/>
                <a:gd name="connsiteY44" fmla="*/ 3729193 h 3835942"/>
                <a:gd name="connsiteX45" fmla="*/ 1581642 w 4510936"/>
                <a:gd name="connsiteY45" fmla="*/ 3835942 h 3835942"/>
                <a:gd name="connsiteX46" fmla="*/ 1113971 w 4510936"/>
                <a:gd name="connsiteY46" fmla="*/ 3835942 h 3835942"/>
                <a:gd name="connsiteX47" fmla="*/ 836413 w 4510936"/>
                <a:gd name="connsiteY47" fmla="*/ 3086585 h 3835942"/>
                <a:gd name="connsiteX48" fmla="*/ 116170 w 4510936"/>
                <a:gd name="connsiteY48" fmla="*/ 2308285 h 3835942"/>
                <a:gd name="connsiteX49" fmla="*/ 118297 w 4510936"/>
                <a:gd name="connsiteY49" fmla="*/ 2287181 h 3835942"/>
                <a:gd name="connsiteX50" fmla="*/ 98842 w 4510936"/>
                <a:gd name="connsiteY50" fmla="*/ 2263602 h 3835942"/>
                <a:gd name="connsiteX51" fmla="*/ 0 w 4510936"/>
                <a:gd name="connsiteY51" fmla="*/ 1940013 h 3835942"/>
                <a:gd name="connsiteX52" fmla="*/ 98842 w 4510936"/>
                <a:gd name="connsiteY52" fmla="*/ 1616424 h 3835942"/>
                <a:gd name="connsiteX53" fmla="*/ 158494 w 4510936"/>
                <a:gd name="connsiteY53" fmla="*/ 1544125 h 3835942"/>
                <a:gd name="connsiteX54" fmla="*/ 138294 w 4510936"/>
                <a:gd name="connsiteY54" fmla="*/ 1479051 h 3835942"/>
                <a:gd name="connsiteX55" fmla="*/ 124645 w 4510936"/>
                <a:gd name="connsiteY55" fmla="*/ 1343654 h 3835942"/>
                <a:gd name="connsiteX56" fmla="*/ 534966 w 4510936"/>
                <a:gd name="connsiteY56" fmla="*/ 724623 h 3835942"/>
                <a:gd name="connsiteX57" fmla="*/ 655270 w 4510936"/>
                <a:gd name="connsiteY57" fmla="*/ 687278 h 3835942"/>
                <a:gd name="connsiteX58" fmla="*/ 663127 w 4510936"/>
                <a:gd name="connsiteY58" fmla="*/ 661967 h 3835942"/>
                <a:gd name="connsiteX59" fmla="*/ 1282159 w 4510936"/>
                <a:gd name="connsiteY59" fmla="*/ 251645 h 3835942"/>
                <a:gd name="connsiteX60" fmla="*/ 1417556 w 4510936"/>
                <a:gd name="connsiteY60" fmla="*/ 265294 h 3835942"/>
                <a:gd name="connsiteX61" fmla="*/ 1421411 w 4510936"/>
                <a:gd name="connsiteY61" fmla="*/ 266491 h 3835942"/>
                <a:gd name="connsiteX62" fmla="*/ 1478933 w 4510936"/>
                <a:gd name="connsiteY62" fmla="*/ 196773 h 3835942"/>
                <a:gd name="connsiteX63" fmla="*/ 1953986 w 4510936"/>
                <a:gd name="connsiteY6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556657 w 4510936"/>
                <a:gd name="connsiteY42" fmla="*/ 2852599 h 3835942"/>
                <a:gd name="connsiteX43" fmla="*/ 1580115 w 4510936"/>
                <a:gd name="connsiteY43" fmla="*/ 3729193 h 3835942"/>
                <a:gd name="connsiteX44" fmla="*/ 1581642 w 4510936"/>
                <a:gd name="connsiteY44" fmla="*/ 3835942 h 3835942"/>
                <a:gd name="connsiteX45" fmla="*/ 1113971 w 4510936"/>
                <a:gd name="connsiteY45" fmla="*/ 3835942 h 3835942"/>
                <a:gd name="connsiteX46" fmla="*/ 836413 w 4510936"/>
                <a:gd name="connsiteY46" fmla="*/ 3086585 h 3835942"/>
                <a:gd name="connsiteX47" fmla="*/ 116170 w 4510936"/>
                <a:gd name="connsiteY47" fmla="*/ 2308285 h 3835942"/>
                <a:gd name="connsiteX48" fmla="*/ 118297 w 4510936"/>
                <a:gd name="connsiteY48" fmla="*/ 2287181 h 3835942"/>
                <a:gd name="connsiteX49" fmla="*/ 98842 w 4510936"/>
                <a:gd name="connsiteY49" fmla="*/ 2263602 h 3835942"/>
                <a:gd name="connsiteX50" fmla="*/ 0 w 4510936"/>
                <a:gd name="connsiteY50" fmla="*/ 1940013 h 3835942"/>
                <a:gd name="connsiteX51" fmla="*/ 98842 w 4510936"/>
                <a:gd name="connsiteY51" fmla="*/ 1616424 h 3835942"/>
                <a:gd name="connsiteX52" fmla="*/ 158494 w 4510936"/>
                <a:gd name="connsiteY52" fmla="*/ 1544125 h 3835942"/>
                <a:gd name="connsiteX53" fmla="*/ 138294 w 4510936"/>
                <a:gd name="connsiteY53" fmla="*/ 1479051 h 3835942"/>
                <a:gd name="connsiteX54" fmla="*/ 124645 w 4510936"/>
                <a:gd name="connsiteY54" fmla="*/ 1343654 h 3835942"/>
                <a:gd name="connsiteX55" fmla="*/ 534966 w 4510936"/>
                <a:gd name="connsiteY55" fmla="*/ 724623 h 3835942"/>
                <a:gd name="connsiteX56" fmla="*/ 655270 w 4510936"/>
                <a:gd name="connsiteY56" fmla="*/ 687278 h 3835942"/>
                <a:gd name="connsiteX57" fmla="*/ 663127 w 4510936"/>
                <a:gd name="connsiteY57" fmla="*/ 661967 h 3835942"/>
                <a:gd name="connsiteX58" fmla="*/ 1282159 w 4510936"/>
                <a:gd name="connsiteY58" fmla="*/ 251645 h 3835942"/>
                <a:gd name="connsiteX59" fmla="*/ 1417556 w 4510936"/>
                <a:gd name="connsiteY59" fmla="*/ 265294 h 3835942"/>
                <a:gd name="connsiteX60" fmla="*/ 1421411 w 4510936"/>
                <a:gd name="connsiteY60" fmla="*/ 266491 h 3835942"/>
                <a:gd name="connsiteX61" fmla="*/ 1478933 w 4510936"/>
                <a:gd name="connsiteY61" fmla="*/ 196773 h 3835942"/>
                <a:gd name="connsiteX62" fmla="*/ 1953986 w 4510936"/>
                <a:gd name="connsiteY6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599542 w 4510936"/>
                <a:gd name="connsiteY31" fmla="*/ 1528170 h 3835942"/>
                <a:gd name="connsiteX32" fmla="*/ 3900714 w 4510936"/>
                <a:gd name="connsiteY32" fmla="*/ 1212485 h 3835942"/>
                <a:gd name="connsiteX33" fmla="*/ 3358243 w 4510936"/>
                <a:gd name="connsiteY33" fmla="*/ 1319527 h 3835942"/>
                <a:gd name="connsiteX34" fmla="*/ 2895600 w 4510936"/>
                <a:gd name="connsiteY34" fmla="*/ 1132656 h 3835942"/>
                <a:gd name="connsiteX35" fmla="*/ 3218542 w 4510936"/>
                <a:gd name="connsiteY35" fmla="*/ 617399 h 3835942"/>
                <a:gd name="connsiteX36" fmla="*/ 2715985 w 4510936"/>
                <a:gd name="connsiteY36" fmla="*/ 947598 h 3835942"/>
                <a:gd name="connsiteX37" fmla="*/ 1948542 w 4510936"/>
                <a:gd name="connsiteY37" fmla="*/ 925827 h 3835942"/>
                <a:gd name="connsiteX38" fmla="*/ 2062843 w 4510936"/>
                <a:gd name="connsiteY38" fmla="*/ 403313 h 3835942"/>
                <a:gd name="connsiteX39" fmla="*/ 1816101 w 4510936"/>
                <a:gd name="connsiteY39" fmla="*/ 780685 h 3835942"/>
                <a:gd name="connsiteX40" fmla="*/ 1455057 w 4510936"/>
                <a:gd name="connsiteY40" fmla="*/ 898614 h 3835942"/>
                <a:gd name="connsiteX41" fmla="*/ 1556657 w 4510936"/>
                <a:gd name="connsiteY41" fmla="*/ 2852599 h 3835942"/>
                <a:gd name="connsiteX42" fmla="*/ 1580115 w 4510936"/>
                <a:gd name="connsiteY42" fmla="*/ 3729193 h 3835942"/>
                <a:gd name="connsiteX43" fmla="*/ 1581642 w 4510936"/>
                <a:gd name="connsiteY43" fmla="*/ 3835942 h 3835942"/>
                <a:gd name="connsiteX44" fmla="*/ 1113971 w 4510936"/>
                <a:gd name="connsiteY44" fmla="*/ 3835942 h 3835942"/>
                <a:gd name="connsiteX45" fmla="*/ 836413 w 4510936"/>
                <a:gd name="connsiteY45" fmla="*/ 3086585 h 3835942"/>
                <a:gd name="connsiteX46" fmla="*/ 116170 w 4510936"/>
                <a:gd name="connsiteY46" fmla="*/ 2308285 h 3835942"/>
                <a:gd name="connsiteX47" fmla="*/ 118297 w 4510936"/>
                <a:gd name="connsiteY47" fmla="*/ 2287181 h 3835942"/>
                <a:gd name="connsiteX48" fmla="*/ 98842 w 4510936"/>
                <a:gd name="connsiteY48" fmla="*/ 2263602 h 3835942"/>
                <a:gd name="connsiteX49" fmla="*/ 0 w 4510936"/>
                <a:gd name="connsiteY49" fmla="*/ 1940013 h 3835942"/>
                <a:gd name="connsiteX50" fmla="*/ 98842 w 4510936"/>
                <a:gd name="connsiteY50" fmla="*/ 1616424 h 3835942"/>
                <a:gd name="connsiteX51" fmla="*/ 158494 w 4510936"/>
                <a:gd name="connsiteY51" fmla="*/ 1544125 h 3835942"/>
                <a:gd name="connsiteX52" fmla="*/ 138294 w 4510936"/>
                <a:gd name="connsiteY52" fmla="*/ 1479051 h 3835942"/>
                <a:gd name="connsiteX53" fmla="*/ 124645 w 4510936"/>
                <a:gd name="connsiteY53" fmla="*/ 1343654 h 3835942"/>
                <a:gd name="connsiteX54" fmla="*/ 534966 w 4510936"/>
                <a:gd name="connsiteY54" fmla="*/ 724623 h 3835942"/>
                <a:gd name="connsiteX55" fmla="*/ 655270 w 4510936"/>
                <a:gd name="connsiteY55" fmla="*/ 687278 h 3835942"/>
                <a:gd name="connsiteX56" fmla="*/ 663127 w 4510936"/>
                <a:gd name="connsiteY56" fmla="*/ 661967 h 3835942"/>
                <a:gd name="connsiteX57" fmla="*/ 1282159 w 4510936"/>
                <a:gd name="connsiteY57" fmla="*/ 251645 h 3835942"/>
                <a:gd name="connsiteX58" fmla="*/ 1417556 w 4510936"/>
                <a:gd name="connsiteY58" fmla="*/ 265294 h 3835942"/>
                <a:gd name="connsiteX59" fmla="*/ 1421411 w 4510936"/>
                <a:gd name="connsiteY59" fmla="*/ 266491 h 3835942"/>
                <a:gd name="connsiteX60" fmla="*/ 1478933 w 4510936"/>
                <a:gd name="connsiteY60" fmla="*/ 196773 h 3835942"/>
                <a:gd name="connsiteX61" fmla="*/ 1953986 w 4510936"/>
                <a:gd name="connsiteY6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900714 w 4510936"/>
                <a:gd name="connsiteY31" fmla="*/ 1212485 h 3835942"/>
                <a:gd name="connsiteX32" fmla="*/ 3358243 w 4510936"/>
                <a:gd name="connsiteY32" fmla="*/ 1319527 h 3835942"/>
                <a:gd name="connsiteX33" fmla="*/ 2895600 w 4510936"/>
                <a:gd name="connsiteY33" fmla="*/ 1132656 h 3835942"/>
                <a:gd name="connsiteX34" fmla="*/ 3218542 w 4510936"/>
                <a:gd name="connsiteY34" fmla="*/ 617399 h 3835942"/>
                <a:gd name="connsiteX35" fmla="*/ 2715985 w 4510936"/>
                <a:gd name="connsiteY35" fmla="*/ 947598 h 3835942"/>
                <a:gd name="connsiteX36" fmla="*/ 1948542 w 4510936"/>
                <a:gd name="connsiteY36" fmla="*/ 925827 h 3835942"/>
                <a:gd name="connsiteX37" fmla="*/ 2062843 w 4510936"/>
                <a:gd name="connsiteY37" fmla="*/ 403313 h 3835942"/>
                <a:gd name="connsiteX38" fmla="*/ 1816101 w 4510936"/>
                <a:gd name="connsiteY38" fmla="*/ 780685 h 3835942"/>
                <a:gd name="connsiteX39" fmla="*/ 1455057 w 4510936"/>
                <a:gd name="connsiteY39" fmla="*/ 898614 h 3835942"/>
                <a:gd name="connsiteX40" fmla="*/ 1556657 w 4510936"/>
                <a:gd name="connsiteY40" fmla="*/ 2852599 h 3835942"/>
                <a:gd name="connsiteX41" fmla="*/ 1580115 w 4510936"/>
                <a:gd name="connsiteY41" fmla="*/ 3729193 h 3835942"/>
                <a:gd name="connsiteX42" fmla="*/ 1581642 w 4510936"/>
                <a:gd name="connsiteY42" fmla="*/ 3835942 h 3835942"/>
                <a:gd name="connsiteX43" fmla="*/ 1113971 w 4510936"/>
                <a:gd name="connsiteY43" fmla="*/ 3835942 h 3835942"/>
                <a:gd name="connsiteX44" fmla="*/ 836413 w 4510936"/>
                <a:gd name="connsiteY44" fmla="*/ 3086585 h 3835942"/>
                <a:gd name="connsiteX45" fmla="*/ 116170 w 4510936"/>
                <a:gd name="connsiteY45" fmla="*/ 2308285 h 3835942"/>
                <a:gd name="connsiteX46" fmla="*/ 118297 w 4510936"/>
                <a:gd name="connsiteY46" fmla="*/ 2287181 h 3835942"/>
                <a:gd name="connsiteX47" fmla="*/ 98842 w 4510936"/>
                <a:gd name="connsiteY47" fmla="*/ 2263602 h 3835942"/>
                <a:gd name="connsiteX48" fmla="*/ 0 w 4510936"/>
                <a:gd name="connsiteY48" fmla="*/ 1940013 h 3835942"/>
                <a:gd name="connsiteX49" fmla="*/ 98842 w 4510936"/>
                <a:gd name="connsiteY49" fmla="*/ 1616424 h 3835942"/>
                <a:gd name="connsiteX50" fmla="*/ 158494 w 4510936"/>
                <a:gd name="connsiteY50" fmla="*/ 1544125 h 3835942"/>
                <a:gd name="connsiteX51" fmla="*/ 138294 w 4510936"/>
                <a:gd name="connsiteY51" fmla="*/ 1479051 h 3835942"/>
                <a:gd name="connsiteX52" fmla="*/ 124645 w 4510936"/>
                <a:gd name="connsiteY52" fmla="*/ 1343654 h 3835942"/>
                <a:gd name="connsiteX53" fmla="*/ 534966 w 4510936"/>
                <a:gd name="connsiteY53" fmla="*/ 724623 h 3835942"/>
                <a:gd name="connsiteX54" fmla="*/ 655270 w 4510936"/>
                <a:gd name="connsiteY54" fmla="*/ 687278 h 3835942"/>
                <a:gd name="connsiteX55" fmla="*/ 663127 w 4510936"/>
                <a:gd name="connsiteY55" fmla="*/ 661967 h 3835942"/>
                <a:gd name="connsiteX56" fmla="*/ 1282159 w 4510936"/>
                <a:gd name="connsiteY56" fmla="*/ 251645 h 3835942"/>
                <a:gd name="connsiteX57" fmla="*/ 1417556 w 4510936"/>
                <a:gd name="connsiteY57" fmla="*/ 265294 h 3835942"/>
                <a:gd name="connsiteX58" fmla="*/ 1421411 w 4510936"/>
                <a:gd name="connsiteY58" fmla="*/ 266491 h 3835942"/>
                <a:gd name="connsiteX59" fmla="*/ 1478933 w 4510936"/>
                <a:gd name="connsiteY59" fmla="*/ 196773 h 3835942"/>
                <a:gd name="connsiteX60" fmla="*/ 1953986 w 4510936"/>
                <a:gd name="connsiteY6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358243 w 4510936"/>
                <a:gd name="connsiteY31" fmla="*/ 1319527 h 3835942"/>
                <a:gd name="connsiteX32" fmla="*/ 2895600 w 4510936"/>
                <a:gd name="connsiteY32" fmla="*/ 1132656 h 3835942"/>
                <a:gd name="connsiteX33" fmla="*/ 3218542 w 4510936"/>
                <a:gd name="connsiteY33" fmla="*/ 617399 h 3835942"/>
                <a:gd name="connsiteX34" fmla="*/ 2715985 w 4510936"/>
                <a:gd name="connsiteY34" fmla="*/ 947598 h 3835942"/>
                <a:gd name="connsiteX35" fmla="*/ 1948542 w 4510936"/>
                <a:gd name="connsiteY35" fmla="*/ 925827 h 3835942"/>
                <a:gd name="connsiteX36" fmla="*/ 2062843 w 4510936"/>
                <a:gd name="connsiteY36" fmla="*/ 403313 h 3835942"/>
                <a:gd name="connsiteX37" fmla="*/ 1816101 w 4510936"/>
                <a:gd name="connsiteY37" fmla="*/ 780685 h 3835942"/>
                <a:gd name="connsiteX38" fmla="*/ 1455057 w 4510936"/>
                <a:gd name="connsiteY38" fmla="*/ 898614 h 3835942"/>
                <a:gd name="connsiteX39" fmla="*/ 1556657 w 4510936"/>
                <a:gd name="connsiteY39" fmla="*/ 2852599 h 3835942"/>
                <a:gd name="connsiteX40" fmla="*/ 1580115 w 4510936"/>
                <a:gd name="connsiteY40" fmla="*/ 3729193 h 3835942"/>
                <a:gd name="connsiteX41" fmla="*/ 1581642 w 4510936"/>
                <a:gd name="connsiteY41" fmla="*/ 3835942 h 3835942"/>
                <a:gd name="connsiteX42" fmla="*/ 1113971 w 4510936"/>
                <a:gd name="connsiteY42" fmla="*/ 3835942 h 3835942"/>
                <a:gd name="connsiteX43" fmla="*/ 836413 w 4510936"/>
                <a:gd name="connsiteY43" fmla="*/ 3086585 h 3835942"/>
                <a:gd name="connsiteX44" fmla="*/ 116170 w 4510936"/>
                <a:gd name="connsiteY44" fmla="*/ 2308285 h 3835942"/>
                <a:gd name="connsiteX45" fmla="*/ 118297 w 4510936"/>
                <a:gd name="connsiteY45" fmla="*/ 2287181 h 3835942"/>
                <a:gd name="connsiteX46" fmla="*/ 98842 w 4510936"/>
                <a:gd name="connsiteY46" fmla="*/ 2263602 h 3835942"/>
                <a:gd name="connsiteX47" fmla="*/ 0 w 4510936"/>
                <a:gd name="connsiteY47" fmla="*/ 1940013 h 3835942"/>
                <a:gd name="connsiteX48" fmla="*/ 98842 w 4510936"/>
                <a:gd name="connsiteY48" fmla="*/ 1616424 h 3835942"/>
                <a:gd name="connsiteX49" fmla="*/ 158494 w 4510936"/>
                <a:gd name="connsiteY49" fmla="*/ 1544125 h 3835942"/>
                <a:gd name="connsiteX50" fmla="*/ 138294 w 4510936"/>
                <a:gd name="connsiteY50" fmla="*/ 1479051 h 3835942"/>
                <a:gd name="connsiteX51" fmla="*/ 124645 w 4510936"/>
                <a:gd name="connsiteY51" fmla="*/ 1343654 h 3835942"/>
                <a:gd name="connsiteX52" fmla="*/ 534966 w 4510936"/>
                <a:gd name="connsiteY52" fmla="*/ 724623 h 3835942"/>
                <a:gd name="connsiteX53" fmla="*/ 655270 w 4510936"/>
                <a:gd name="connsiteY53" fmla="*/ 687278 h 3835942"/>
                <a:gd name="connsiteX54" fmla="*/ 663127 w 4510936"/>
                <a:gd name="connsiteY54" fmla="*/ 661967 h 3835942"/>
                <a:gd name="connsiteX55" fmla="*/ 1282159 w 4510936"/>
                <a:gd name="connsiteY55" fmla="*/ 251645 h 3835942"/>
                <a:gd name="connsiteX56" fmla="*/ 1417556 w 4510936"/>
                <a:gd name="connsiteY56" fmla="*/ 265294 h 3835942"/>
                <a:gd name="connsiteX57" fmla="*/ 1421411 w 4510936"/>
                <a:gd name="connsiteY57" fmla="*/ 266491 h 3835942"/>
                <a:gd name="connsiteX58" fmla="*/ 1478933 w 4510936"/>
                <a:gd name="connsiteY58" fmla="*/ 196773 h 3835942"/>
                <a:gd name="connsiteX59" fmla="*/ 1953986 w 4510936"/>
                <a:gd name="connsiteY5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2895600 w 4510936"/>
                <a:gd name="connsiteY31" fmla="*/ 1132656 h 3835942"/>
                <a:gd name="connsiteX32" fmla="*/ 3218542 w 4510936"/>
                <a:gd name="connsiteY32" fmla="*/ 617399 h 3835942"/>
                <a:gd name="connsiteX33" fmla="*/ 2715985 w 4510936"/>
                <a:gd name="connsiteY33" fmla="*/ 947598 h 3835942"/>
                <a:gd name="connsiteX34" fmla="*/ 1948542 w 4510936"/>
                <a:gd name="connsiteY34" fmla="*/ 925827 h 3835942"/>
                <a:gd name="connsiteX35" fmla="*/ 2062843 w 4510936"/>
                <a:gd name="connsiteY35" fmla="*/ 403313 h 3835942"/>
                <a:gd name="connsiteX36" fmla="*/ 1816101 w 4510936"/>
                <a:gd name="connsiteY36" fmla="*/ 780685 h 3835942"/>
                <a:gd name="connsiteX37" fmla="*/ 1455057 w 4510936"/>
                <a:gd name="connsiteY37" fmla="*/ 898614 h 3835942"/>
                <a:gd name="connsiteX38" fmla="*/ 1556657 w 4510936"/>
                <a:gd name="connsiteY38" fmla="*/ 2852599 h 3835942"/>
                <a:gd name="connsiteX39" fmla="*/ 1580115 w 4510936"/>
                <a:gd name="connsiteY39" fmla="*/ 3729193 h 3835942"/>
                <a:gd name="connsiteX40" fmla="*/ 1581642 w 4510936"/>
                <a:gd name="connsiteY40" fmla="*/ 3835942 h 3835942"/>
                <a:gd name="connsiteX41" fmla="*/ 1113971 w 4510936"/>
                <a:gd name="connsiteY41" fmla="*/ 3835942 h 3835942"/>
                <a:gd name="connsiteX42" fmla="*/ 836413 w 4510936"/>
                <a:gd name="connsiteY42" fmla="*/ 3086585 h 3835942"/>
                <a:gd name="connsiteX43" fmla="*/ 116170 w 4510936"/>
                <a:gd name="connsiteY43" fmla="*/ 2308285 h 3835942"/>
                <a:gd name="connsiteX44" fmla="*/ 118297 w 4510936"/>
                <a:gd name="connsiteY44" fmla="*/ 2287181 h 3835942"/>
                <a:gd name="connsiteX45" fmla="*/ 98842 w 4510936"/>
                <a:gd name="connsiteY45" fmla="*/ 2263602 h 3835942"/>
                <a:gd name="connsiteX46" fmla="*/ 0 w 4510936"/>
                <a:gd name="connsiteY46" fmla="*/ 1940013 h 3835942"/>
                <a:gd name="connsiteX47" fmla="*/ 98842 w 4510936"/>
                <a:gd name="connsiteY47" fmla="*/ 1616424 h 3835942"/>
                <a:gd name="connsiteX48" fmla="*/ 158494 w 4510936"/>
                <a:gd name="connsiteY48" fmla="*/ 1544125 h 3835942"/>
                <a:gd name="connsiteX49" fmla="*/ 138294 w 4510936"/>
                <a:gd name="connsiteY49" fmla="*/ 1479051 h 3835942"/>
                <a:gd name="connsiteX50" fmla="*/ 124645 w 4510936"/>
                <a:gd name="connsiteY50" fmla="*/ 1343654 h 3835942"/>
                <a:gd name="connsiteX51" fmla="*/ 534966 w 4510936"/>
                <a:gd name="connsiteY51" fmla="*/ 724623 h 3835942"/>
                <a:gd name="connsiteX52" fmla="*/ 655270 w 4510936"/>
                <a:gd name="connsiteY52" fmla="*/ 687278 h 3835942"/>
                <a:gd name="connsiteX53" fmla="*/ 663127 w 4510936"/>
                <a:gd name="connsiteY53" fmla="*/ 661967 h 3835942"/>
                <a:gd name="connsiteX54" fmla="*/ 1282159 w 4510936"/>
                <a:gd name="connsiteY54" fmla="*/ 251645 h 3835942"/>
                <a:gd name="connsiteX55" fmla="*/ 1417556 w 4510936"/>
                <a:gd name="connsiteY55" fmla="*/ 265294 h 3835942"/>
                <a:gd name="connsiteX56" fmla="*/ 1421411 w 4510936"/>
                <a:gd name="connsiteY56" fmla="*/ 266491 h 3835942"/>
                <a:gd name="connsiteX57" fmla="*/ 1478933 w 4510936"/>
                <a:gd name="connsiteY57" fmla="*/ 196773 h 3835942"/>
                <a:gd name="connsiteX58" fmla="*/ 1953986 w 4510936"/>
                <a:gd name="connsiteY5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218542 w 4510936"/>
                <a:gd name="connsiteY31" fmla="*/ 617399 h 3835942"/>
                <a:gd name="connsiteX32" fmla="*/ 2715985 w 4510936"/>
                <a:gd name="connsiteY32" fmla="*/ 947598 h 3835942"/>
                <a:gd name="connsiteX33" fmla="*/ 1948542 w 4510936"/>
                <a:gd name="connsiteY33" fmla="*/ 925827 h 3835942"/>
                <a:gd name="connsiteX34" fmla="*/ 2062843 w 4510936"/>
                <a:gd name="connsiteY34" fmla="*/ 403313 h 3835942"/>
                <a:gd name="connsiteX35" fmla="*/ 1816101 w 4510936"/>
                <a:gd name="connsiteY35" fmla="*/ 780685 h 3835942"/>
                <a:gd name="connsiteX36" fmla="*/ 1455057 w 4510936"/>
                <a:gd name="connsiteY36" fmla="*/ 898614 h 3835942"/>
                <a:gd name="connsiteX37" fmla="*/ 1556657 w 4510936"/>
                <a:gd name="connsiteY37" fmla="*/ 2852599 h 3835942"/>
                <a:gd name="connsiteX38" fmla="*/ 1580115 w 4510936"/>
                <a:gd name="connsiteY38" fmla="*/ 3729193 h 3835942"/>
                <a:gd name="connsiteX39" fmla="*/ 1581642 w 4510936"/>
                <a:gd name="connsiteY39" fmla="*/ 3835942 h 3835942"/>
                <a:gd name="connsiteX40" fmla="*/ 1113971 w 4510936"/>
                <a:gd name="connsiteY40" fmla="*/ 3835942 h 3835942"/>
                <a:gd name="connsiteX41" fmla="*/ 836413 w 4510936"/>
                <a:gd name="connsiteY41" fmla="*/ 3086585 h 3835942"/>
                <a:gd name="connsiteX42" fmla="*/ 116170 w 4510936"/>
                <a:gd name="connsiteY42" fmla="*/ 2308285 h 3835942"/>
                <a:gd name="connsiteX43" fmla="*/ 118297 w 4510936"/>
                <a:gd name="connsiteY43" fmla="*/ 2287181 h 3835942"/>
                <a:gd name="connsiteX44" fmla="*/ 98842 w 4510936"/>
                <a:gd name="connsiteY44" fmla="*/ 2263602 h 3835942"/>
                <a:gd name="connsiteX45" fmla="*/ 0 w 4510936"/>
                <a:gd name="connsiteY45" fmla="*/ 1940013 h 3835942"/>
                <a:gd name="connsiteX46" fmla="*/ 98842 w 4510936"/>
                <a:gd name="connsiteY46" fmla="*/ 1616424 h 3835942"/>
                <a:gd name="connsiteX47" fmla="*/ 158494 w 4510936"/>
                <a:gd name="connsiteY47" fmla="*/ 1544125 h 3835942"/>
                <a:gd name="connsiteX48" fmla="*/ 138294 w 4510936"/>
                <a:gd name="connsiteY48" fmla="*/ 1479051 h 3835942"/>
                <a:gd name="connsiteX49" fmla="*/ 124645 w 4510936"/>
                <a:gd name="connsiteY49" fmla="*/ 1343654 h 3835942"/>
                <a:gd name="connsiteX50" fmla="*/ 534966 w 4510936"/>
                <a:gd name="connsiteY50" fmla="*/ 724623 h 3835942"/>
                <a:gd name="connsiteX51" fmla="*/ 655270 w 4510936"/>
                <a:gd name="connsiteY51" fmla="*/ 687278 h 3835942"/>
                <a:gd name="connsiteX52" fmla="*/ 663127 w 4510936"/>
                <a:gd name="connsiteY52" fmla="*/ 661967 h 3835942"/>
                <a:gd name="connsiteX53" fmla="*/ 1282159 w 4510936"/>
                <a:gd name="connsiteY53" fmla="*/ 251645 h 3835942"/>
                <a:gd name="connsiteX54" fmla="*/ 1417556 w 4510936"/>
                <a:gd name="connsiteY54" fmla="*/ 265294 h 3835942"/>
                <a:gd name="connsiteX55" fmla="*/ 1421411 w 4510936"/>
                <a:gd name="connsiteY55" fmla="*/ 266491 h 3835942"/>
                <a:gd name="connsiteX56" fmla="*/ 1478933 w 4510936"/>
                <a:gd name="connsiteY56" fmla="*/ 196773 h 3835942"/>
                <a:gd name="connsiteX57" fmla="*/ 1953986 w 4510936"/>
                <a:gd name="connsiteY5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218542 w 4510936"/>
                <a:gd name="connsiteY30" fmla="*/ 617399 h 3835942"/>
                <a:gd name="connsiteX31" fmla="*/ 2715985 w 4510936"/>
                <a:gd name="connsiteY31" fmla="*/ 947598 h 3835942"/>
                <a:gd name="connsiteX32" fmla="*/ 1948542 w 4510936"/>
                <a:gd name="connsiteY32" fmla="*/ 925827 h 3835942"/>
                <a:gd name="connsiteX33" fmla="*/ 2062843 w 4510936"/>
                <a:gd name="connsiteY33" fmla="*/ 403313 h 3835942"/>
                <a:gd name="connsiteX34" fmla="*/ 1816101 w 4510936"/>
                <a:gd name="connsiteY34" fmla="*/ 780685 h 3835942"/>
                <a:gd name="connsiteX35" fmla="*/ 1455057 w 4510936"/>
                <a:gd name="connsiteY35" fmla="*/ 898614 h 3835942"/>
                <a:gd name="connsiteX36" fmla="*/ 1556657 w 4510936"/>
                <a:gd name="connsiteY36" fmla="*/ 2852599 h 3835942"/>
                <a:gd name="connsiteX37" fmla="*/ 1580115 w 4510936"/>
                <a:gd name="connsiteY37" fmla="*/ 3729193 h 3835942"/>
                <a:gd name="connsiteX38" fmla="*/ 1581642 w 4510936"/>
                <a:gd name="connsiteY38" fmla="*/ 3835942 h 3835942"/>
                <a:gd name="connsiteX39" fmla="*/ 1113971 w 4510936"/>
                <a:gd name="connsiteY39" fmla="*/ 3835942 h 3835942"/>
                <a:gd name="connsiteX40" fmla="*/ 836413 w 4510936"/>
                <a:gd name="connsiteY40" fmla="*/ 3086585 h 3835942"/>
                <a:gd name="connsiteX41" fmla="*/ 116170 w 4510936"/>
                <a:gd name="connsiteY41" fmla="*/ 2308285 h 3835942"/>
                <a:gd name="connsiteX42" fmla="*/ 118297 w 4510936"/>
                <a:gd name="connsiteY42" fmla="*/ 2287181 h 3835942"/>
                <a:gd name="connsiteX43" fmla="*/ 98842 w 4510936"/>
                <a:gd name="connsiteY43" fmla="*/ 2263602 h 3835942"/>
                <a:gd name="connsiteX44" fmla="*/ 0 w 4510936"/>
                <a:gd name="connsiteY44" fmla="*/ 1940013 h 3835942"/>
                <a:gd name="connsiteX45" fmla="*/ 98842 w 4510936"/>
                <a:gd name="connsiteY45" fmla="*/ 1616424 h 3835942"/>
                <a:gd name="connsiteX46" fmla="*/ 158494 w 4510936"/>
                <a:gd name="connsiteY46" fmla="*/ 1544125 h 3835942"/>
                <a:gd name="connsiteX47" fmla="*/ 138294 w 4510936"/>
                <a:gd name="connsiteY47" fmla="*/ 1479051 h 3835942"/>
                <a:gd name="connsiteX48" fmla="*/ 124645 w 4510936"/>
                <a:gd name="connsiteY48" fmla="*/ 1343654 h 3835942"/>
                <a:gd name="connsiteX49" fmla="*/ 534966 w 4510936"/>
                <a:gd name="connsiteY49" fmla="*/ 724623 h 3835942"/>
                <a:gd name="connsiteX50" fmla="*/ 655270 w 4510936"/>
                <a:gd name="connsiteY50" fmla="*/ 687278 h 3835942"/>
                <a:gd name="connsiteX51" fmla="*/ 663127 w 4510936"/>
                <a:gd name="connsiteY51" fmla="*/ 661967 h 3835942"/>
                <a:gd name="connsiteX52" fmla="*/ 1282159 w 4510936"/>
                <a:gd name="connsiteY52" fmla="*/ 251645 h 3835942"/>
                <a:gd name="connsiteX53" fmla="*/ 1417556 w 4510936"/>
                <a:gd name="connsiteY53" fmla="*/ 265294 h 3835942"/>
                <a:gd name="connsiteX54" fmla="*/ 1421411 w 4510936"/>
                <a:gd name="connsiteY54" fmla="*/ 266491 h 3835942"/>
                <a:gd name="connsiteX55" fmla="*/ 1478933 w 4510936"/>
                <a:gd name="connsiteY55" fmla="*/ 196773 h 3835942"/>
                <a:gd name="connsiteX56" fmla="*/ 1953986 w 4510936"/>
                <a:gd name="connsiteY5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623457 w 4510936"/>
                <a:gd name="connsiteY27" fmla="*/ 1212485 h 3835942"/>
                <a:gd name="connsiteX28" fmla="*/ 3131457 w 4510936"/>
                <a:gd name="connsiteY28" fmla="*/ 1528170 h 3835942"/>
                <a:gd name="connsiteX29" fmla="*/ 3218542 w 4510936"/>
                <a:gd name="connsiteY29" fmla="*/ 617399 h 3835942"/>
                <a:gd name="connsiteX30" fmla="*/ 2715985 w 4510936"/>
                <a:gd name="connsiteY30" fmla="*/ 947598 h 3835942"/>
                <a:gd name="connsiteX31" fmla="*/ 1948542 w 4510936"/>
                <a:gd name="connsiteY31" fmla="*/ 925827 h 3835942"/>
                <a:gd name="connsiteX32" fmla="*/ 2062843 w 4510936"/>
                <a:gd name="connsiteY32" fmla="*/ 403313 h 3835942"/>
                <a:gd name="connsiteX33" fmla="*/ 1816101 w 4510936"/>
                <a:gd name="connsiteY33" fmla="*/ 780685 h 3835942"/>
                <a:gd name="connsiteX34" fmla="*/ 1455057 w 4510936"/>
                <a:gd name="connsiteY34" fmla="*/ 898614 h 3835942"/>
                <a:gd name="connsiteX35" fmla="*/ 1556657 w 4510936"/>
                <a:gd name="connsiteY35" fmla="*/ 2852599 h 3835942"/>
                <a:gd name="connsiteX36" fmla="*/ 1580115 w 4510936"/>
                <a:gd name="connsiteY36" fmla="*/ 3729193 h 3835942"/>
                <a:gd name="connsiteX37" fmla="*/ 1581642 w 4510936"/>
                <a:gd name="connsiteY37" fmla="*/ 3835942 h 3835942"/>
                <a:gd name="connsiteX38" fmla="*/ 1113971 w 4510936"/>
                <a:gd name="connsiteY38" fmla="*/ 3835942 h 3835942"/>
                <a:gd name="connsiteX39" fmla="*/ 836413 w 4510936"/>
                <a:gd name="connsiteY39" fmla="*/ 3086585 h 3835942"/>
                <a:gd name="connsiteX40" fmla="*/ 116170 w 4510936"/>
                <a:gd name="connsiteY40" fmla="*/ 2308285 h 3835942"/>
                <a:gd name="connsiteX41" fmla="*/ 118297 w 4510936"/>
                <a:gd name="connsiteY41" fmla="*/ 2287181 h 3835942"/>
                <a:gd name="connsiteX42" fmla="*/ 98842 w 4510936"/>
                <a:gd name="connsiteY42" fmla="*/ 2263602 h 3835942"/>
                <a:gd name="connsiteX43" fmla="*/ 0 w 4510936"/>
                <a:gd name="connsiteY43" fmla="*/ 1940013 h 3835942"/>
                <a:gd name="connsiteX44" fmla="*/ 98842 w 4510936"/>
                <a:gd name="connsiteY44" fmla="*/ 1616424 h 3835942"/>
                <a:gd name="connsiteX45" fmla="*/ 158494 w 4510936"/>
                <a:gd name="connsiteY45" fmla="*/ 1544125 h 3835942"/>
                <a:gd name="connsiteX46" fmla="*/ 138294 w 4510936"/>
                <a:gd name="connsiteY46" fmla="*/ 1479051 h 3835942"/>
                <a:gd name="connsiteX47" fmla="*/ 124645 w 4510936"/>
                <a:gd name="connsiteY47" fmla="*/ 1343654 h 3835942"/>
                <a:gd name="connsiteX48" fmla="*/ 534966 w 4510936"/>
                <a:gd name="connsiteY48" fmla="*/ 724623 h 3835942"/>
                <a:gd name="connsiteX49" fmla="*/ 655270 w 4510936"/>
                <a:gd name="connsiteY49" fmla="*/ 687278 h 3835942"/>
                <a:gd name="connsiteX50" fmla="*/ 663127 w 4510936"/>
                <a:gd name="connsiteY50" fmla="*/ 661967 h 3835942"/>
                <a:gd name="connsiteX51" fmla="*/ 1282159 w 4510936"/>
                <a:gd name="connsiteY51" fmla="*/ 251645 h 3835942"/>
                <a:gd name="connsiteX52" fmla="*/ 1417556 w 4510936"/>
                <a:gd name="connsiteY52" fmla="*/ 265294 h 3835942"/>
                <a:gd name="connsiteX53" fmla="*/ 1421411 w 4510936"/>
                <a:gd name="connsiteY53" fmla="*/ 266491 h 3835942"/>
                <a:gd name="connsiteX54" fmla="*/ 1478933 w 4510936"/>
                <a:gd name="connsiteY54" fmla="*/ 196773 h 3835942"/>
                <a:gd name="connsiteX55" fmla="*/ 1953986 w 4510936"/>
                <a:gd name="connsiteY5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3131457 w 4510936"/>
                <a:gd name="connsiteY27" fmla="*/ 1528170 h 3835942"/>
                <a:gd name="connsiteX28" fmla="*/ 3218542 w 4510936"/>
                <a:gd name="connsiteY28" fmla="*/ 617399 h 3835942"/>
                <a:gd name="connsiteX29" fmla="*/ 2715985 w 4510936"/>
                <a:gd name="connsiteY29" fmla="*/ 947598 h 3835942"/>
                <a:gd name="connsiteX30" fmla="*/ 1948542 w 4510936"/>
                <a:gd name="connsiteY30" fmla="*/ 925827 h 3835942"/>
                <a:gd name="connsiteX31" fmla="*/ 2062843 w 4510936"/>
                <a:gd name="connsiteY31" fmla="*/ 403313 h 3835942"/>
                <a:gd name="connsiteX32" fmla="*/ 1816101 w 4510936"/>
                <a:gd name="connsiteY32" fmla="*/ 780685 h 3835942"/>
                <a:gd name="connsiteX33" fmla="*/ 1455057 w 4510936"/>
                <a:gd name="connsiteY33" fmla="*/ 898614 h 3835942"/>
                <a:gd name="connsiteX34" fmla="*/ 1556657 w 4510936"/>
                <a:gd name="connsiteY34" fmla="*/ 2852599 h 3835942"/>
                <a:gd name="connsiteX35" fmla="*/ 1580115 w 4510936"/>
                <a:gd name="connsiteY35" fmla="*/ 3729193 h 3835942"/>
                <a:gd name="connsiteX36" fmla="*/ 1581642 w 4510936"/>
                <a:gd name="connsiteY36" fmla="*/ 3835942 h 3835942"/>
                <a:gd name="connsiteX37" fmla="*/ 1113971 w 4510936"/>
                <a:gd name="connsiteY37" fmla="*/ 3835942 h 3835942"/>
                <a:gd name="connsiteX38" fmla="*/ 836413 w 4510936"/>
                <a:gd name="connsiteY38" fmla="*/ 3086585 h 3835942"/>
                <a:gd name="connsiteX39" fmla="*/ 116170 w 4510936"/>
                <a:gd name="connsiteY39" fmla="*/ 2308285 h 3835942"/>
                <a:gd name="connsiteX40" fmla="*/ 118297 w 4510936"/>
                <a:gd name="connsiteY40" fmla="*/ 2287181 h 3835942"/>
                <a:gd name="connsiteX41" fmla="*/ 98842 w 4510936"/>
                <a:gd name="connsiteY41" fmla="*/ 2263602 h 3835942"/>
                <a:gd name="connsiteX42" fmla="*/ 0 w 4510936"/>
                <a:gd name="connsiteY42" fmla="*/ 1940013 h 3835942"/>
                <a:gd name="connsiteX43" fmla="*/ 98842 w 4510936"/>
                <a:gd name="connsiteY43" fmla="*/ 1616424 h 3835942"/>
                <a:gd name="connsiteX44" fmla="*/ 158494 w 4510936"/>
                <a:gd name="connsiteY44" fmla="*/ 1544125 h 3835942"/>
                <a:gd name="connsiteX45" fmla="*/ 138294 w 4510936"/>
                <a:gd name="connsiteY45" fmla="*/ 1479051 h 3835942"/>
                <a:gd name="connsiteX46" fmla="*/ 124645 w 4510936"/>
                <a:gd name="connsiteY46" fmla="*/ 1343654 h 3835942"/>
                <a:gd name="connsiteX47" fmla="*/ 534966 w 4510936"/>
                <a:gd name="connsiteY47" fmla="*/ 724623 h 3835942"/>
                <a:gd name="connsiteX48" fmla="*/ 655270 w 4510936"/>
                <a:gd name="connsiteY48" fmla="*/ 687278 h 3835942"/>
                <a:gd name="connsiteX49" fmla="*/ 663127 w 4510936"/>
                <a:gd name="connsiteY49" fmla="*/ 661967 h 3835942"/>
                <a:gd name="connsiteX50" fmla="*/ 1282159 w 4510936"/>
                <a:gd name="connsiteY50" fmla="*/ 251645 h 3835942"/>
                <a:gd name="connsiteX51" fmla="*/ 1417556 w 4510936"/>
                <a:gd name="connsiteY51" fmla="*/ 265294 h 3835942"/>
                <a:gd name="connsiteX52" fmla="*/ 1421411 w 4510936"/>
                <a:gd name="connsiteY52" fmla="*/ 266491 h 3835942"/>
                <a:gd name="connsiteX53" fmla="*/ 1478933 w 4510936"/>
                <a:gd name="connsiteY53" fmla="*/ 196773 h 3835942"/>
                <a:gd name="connsiteX54" fmla="*/ 1953986 w 4510936"/>
                <a:gd name="connsiteY5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131457 w 4510936"/>
                <a:gd name="connsiteY26" fmla="*/ 1528170 h 3835942"/>
                <a:gd name="connsiteX27" fmla="*/ 3218542 w 4510936"/>
                <a:gd name="connsiteY27" fmla="*/ 617399 h 3835942"/>
                <a:gd name="connsiteX28" fmla="*/ 2715985 w 4510936"/>
                <a:gd name="connsiteY28" fmla="*/ 947598 h 3835942"/>
                <a:gd name="connsiteX29" fmla="*/ 1948542 w 4510936"/>
                <a:gd name="connsiteY29" fmla="*/ 925827 h 3835942"/>
                <a:gd name="connsiteX30" fmla="*/ 2062843 w 4510936"/>
                <a:gd name="connsiteY30" fmla="*/ 403313 h 3835942"/>
                <a:gd name="connsiteX31" fmla="*/ 1816101 w 4510936"/>
                <a:gd name="connsiteY31" fmla="*/ 780685 h 3835942"/>
                <a:gd name="connsiteX32" fmla="*/ 1455057 w 4510936"/>
                <a:gd name="connsiteY32" fmla="*/ 898614 h 3835942"/>
                <a:gd name="connsiteX33" fmla="*/ 1556657 w 4510936"/>
                <a:gd name="connsiteY33" fmla="*/ 2852599 h 3835942"/>
                <a:gd name="connsiteX34" fmla="*/ 1580115 w 4510936"/>
                <a:gd name="connsiteY34" fmla="*/ 3729193 h 3835942"/>
                <a:gd name="connsiteX35" fmla="*/ 1581642 w 4510936"/>
                <a:gd name="connsiteY35" fmla="*/ 3835942 h 3835942"/>
                <a:gd name="connsiteX36" fmla="*/ 1113971 w 4510936"/>
                <a:gd name="connsiteY36" fmla="*/ 3835942 h 3835942"/>
                <a:gd name="connsiteX37" fmla="*/ 836413 w 4510936"/>
                <a:gd name="connsiteY37" fmla="*/ 3086585 h 3835942"/>
                <a:gd name="connsiteX38" fmla="*/ 116170 w 4510936"/>
                <a:gd name="connsiteY38" fmla="*/ 2308285 h 3835942"/>
                <a:gd name="connsiteX39" fmla="*/ 118297 w 4510936"/>
                <a:gd name="connsiteY39" fmla="*/ 2287181 h 3835942"/>
                <a:gd name="connsiteX40" fmla="*/ 98842 w 4510936"/>
                <a:gd name="connsiteY40" fmla="*/ 2263602 h 3835942"/>
                <a:gd name="connsiteX41" fmla="*/ 0 w 4510936"/>
                <a:gd name="connsiteY41" fmla="*/ 1940013 h 3835942"/>
                <a:gd name="connsiteX42" fmla="*/ 98842 w 4510936"/>
                <a:gd name="connsiteY42" fmla="*/ 1616424 h 3835942"/>
                <a:gd name="connsiteX43" fmla="*/ 158494 w 4510936"/>
                <a:gd name="connsiteY43" fmla="*/ 1544125 h 3835942"/>
                <a:gd name="connsiteX44" fmla="*/ 138294 w 4510936"/>
                <a:gd name="connsiteY44" fmla="*/ 1479051 h 3835942"/>
                <a:gd name="connsiteX45" fmla="*/ 124645 w 4510936"/>
                <a:gd name="connsiteY45" fmla="*/ 1343654 h 3835942"/>
                <a:gd name="connsiteX46" fmla="*/ 534966 w 4510936"/>
                <a:gd name="connsiteY46" fmla="*/ 724623 h 3835942"/>
                <a:gd name="connsiteX47" fmla="*/ 655270 w 4510936"/>
                <a:gd name="connsiteY47" fmla="*/ 687278 h 3835942"/>
                <a:gd name="connsiteX48" fmla="*/ 663127 w 4510936"/>
                <a:gd name="connsiteY48" fmla="*/ 661967 h 3835942"/>
                <a:gd name="connsiteX49" fmla="*/ 1282159 w 4510936"/>
                <a:gd name="connsiteY49" fmla="*/ 251645 h 3835942"/>
                <a:gd name="connsiteX50" fmla="*/ 1417556 w 4510936"/>
                <a:gd name="connsiteY50" fmla="*/ 265294 h 3835942"/>
                <a:gd name="connsiteX51" fmla="*/ 1421411 w 4510936"/>
                <a:gd name="connsiteY51" fmla="*/ 266491 h 3835942"/>
                <a:gd name="connsiteX52" fmla="*/ 1478933 w 4510936"/>
                <a:gd name="connsiteY52" fmla="*/ 196773 h 3835942"/>
                <a:gd name="connsiteX53" fmla="*/ 1953986 w 4510936"/>
                <a:gd name="connsiteY5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218542 w 4510936"/>
                <a:gd name="connsiteY26" fmla="*/ 617399 h 3835942"/>
                <a:gd name="connsiteX27" fmla="*/ 2715985 w 4510936"/>
                <a:gd name="connsiteY27" fmla="*/ 947598 h 3835942"/>
                <a:gd name="connsiteX28" fmla="*/ 1948542 w 4510936"/>
                <a:gd name="connsiteY28" fmla="*/ 925827 h 3835942"/>
                <a:gd name="connsiteX29" fmla="*/ 2062843 w 4510936"/>
                <a:gd name="connsiteY29" fmla="*/ 403313 h 3835942"/>
                <a:gd name="connsiteX30" fmla="*/ 1816101 w 4510936"/>
                <a:gd name="connsiteY30" fmla="*/ 780685 h 3835942"/>
                <a:gd name="connsiteX31" fmla="*/ 1455057 w 4510936"/>
                <a:gd name="connsiteY31" fmla="*/ 898614 h 3835942"/>
                <a:gd name="connsiteX32" fmla="*/ 1556657 w 4510936"/>
                <a:gd name="connsiteY32" fmla="*/ 2852599 h 3835942"/>
                <a:gd name="connsiteX33" fmla="*/ 1580115 w 4510936"/>
                <a:gd name="connsiteY33" fmla="*/ 3729193 h 3835942"/>
                <a:gd name="connsiteX34" fmla="*/ 1581642 w 4510936"/>
                <a:gd name="connsiteY34" fmla="*/ 3835942 h 3835942"/>
                <a:gd name="connsiteX35" fmla="*/ 1113971 w 4510936"/>
                <a:gd name="connsiteY35" fmla="*/ 3835942 h 3835942"/>
                <a:gd name="connsiteX36" fmla="*/ 836413 w 4510936"/>
                <a:gd name="connsiteY36" fmla="*/ 3086585 h 3835942"/>
                <a:gd name="connsiteX37" fmla="*/ 116170 w 4510936"/>
                <a:gd name="connsiteY37" fmla="*/ 2308285 h 3835942"/>
                <a:gd name="connsiteX38" fmla="*/ 118297 w 4510936"/>
                <a:gd name="connsiteY38" fmla="*/ 2287181 h 3835942"/>
                <a:gd name="connsiteX39" fmla="*/ 98842 w 4510936"/>
                <a:gd name="connsiteY39" fmla="*/ 2263602 h 3835942"/>
                <a:gd name="connsiteX40" fmla="*/ 0 w 4510936"/>
                <a:gd name="connsiteY40" fmla="*/ 1940013 h 3835942"/>
                <a:gd name="connsiteX41" fmla="*/ 98842 w 4510936"/>
                <a:gd name="connsiteY41" fmla="*/ 1616424 h 3835942"/>
                <a:gd name="connsiteX42" fmla="*/ 158494 w 4510936"/>
                <a:gd name="connsiteY42" fmla="*/ 1544125 h 3835942"/>
                <a:gd name="connsiteX43" fmla="*/ 138294 w 4510936"/>
                <a:gd name="connsiteY43" fmla="*/ 1479051 h 3835942"/>
                <a:gd name="connsiteX44" fmla="*/ 124645 w 4510936"/>
                <a:gd name="connsiteY44" fmla="*/ 1343654 h 3835942"/>
                <a:gd name="connsiteX45" fmla="*/ 534966 w 4510936"/>
                <a:gd name="connsiteY45" fmla="*/ 724623 h 3835942"/>
                <a:gd name="connsiteX46" fmla="*/ 655270 w 4510936"/>
                <a:gd name="connsiteY46" fmla="*/ 687278 h 3835942"/>
                <a:gd name="connsiteX47" fmla="*/ 663127 w 4510936"/>
                <a:gd name="connsiteY47" fmla="*/ 661967 h 3835942"/>
                <a:gd name="connsiteX48" fmla="*/ 1282159 w 4510936"/>
                <a:gd name="connsiteY48" fmla="*/ 251645 h 3835942"/>
                <a:gd name="connsiteX49" fmla="*/ 1417556 w 4510936"/>
                <a:gd name="connsiteY49" fmla="*/ 265294 h 3835942"/>
                <a:gd name="connsiteX50" fmla="*/ 1421411 w 4510936"/>
                <a:gd name="connsiteY50" fmla="*/ 266491 h 3835942"/>
                <a:gd name="connsiteX51" fmla="*/ 1478933 w 4510936"/>
                <a:gd name="connsiteY51" fmla="*/ 196773 h 3835942"/>
                <a:gd name="connsiteX52" fmla="*/ 1953986 w 4510936"/>
                <a:gd name="connsiteY5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715985 w 4510936"/>
                <a:gd name="connsiteY26" fmla="*/ 947598 h 3835942"/>
                <a:gd name="connsiteX27" fmla="*/ 1948542 w 4510936"/>
                <a:gd name="connsiteY27" fmla="*/ 925827 h 3835942"/>
                <a:gd name="connsiteX28" fmla="*/ 2062843 w 4510936"/>
                <a:gd name="connsiteY28" fmla="*/ 403313 h 3835942"/>
                <a:gd name="connsiteX29" fmla="*/ 1816101 w 4510936"/>
                <a:gd name="connsiteY29" fmla="*/ 780685 h 3835942"/>
                <a:gd name="connsiteX30" fmla="*/ 1455057 w 4510936"/>
                <a:gd name="connsiteY30" fmla="*/ 898614 h 3835942"/>
                <a:gd name="connsiteX31" fmla="*/ 1556657 w 4510936"/>
                <a:gd name="connsiteY31" fmla="*/ 2852599 h 3835942"/>
                <a:gd name="connsiteX32" fmla="*/ 1580115 w 4510936"/>
                <a:gd name="connsiteY32" fmla="*/ 3729193 h 3835942"/>
                <a:gd name="connsiteX33" fmla="*/ 1581642 w 4510936"/>
                <a:gd name="connsiteY33" fmla="*/ 3835942 h 3835942"/>
                <a:gd name="connsiteX34" fmla="*/ 1113971 w 4510936"/>
                <a:gd name="connsiteY34" fmla="*/ 3835942 h 3835942"/>
                <a:gd name="connsiteX35" fmla="*/ 836413 w 4510936"/>
                <a:gd name="connsiteY35" fmla="*/ 3086585 h 3835942"/>
                <a:gd name="connsiteX36" fmla="*/ 116170 w 4510936"/>
                <a:gd name="connsiteY36" fmla="*/ 2308285 h 3835942"/>
                <a:gd name="connsiteX37" fmla="*/ 118297 w 4510936"/>
                <a:gd name="connsiteY37" fmla="*/ 2287181 h 3835942"/>
                <a:gd name="connsiteX38" fmla="*/ 98842 w 4510936"/>
                <a:gd name="connsiteY38" fmla="*/ 2263602 h 3835942"/>
                <a:gd name="connsiteX39" fmla="*/ 0 w 4510936"/>
                <a:gd name="connsiteY39" fmla="*/ 1940013 h 3835942"/>
                <a:gd name="connsiteX40" fmla="*/ 98842 w 4510936"/>
                <a:gd name="connsiteY40" fmla="*/ 1616424 h 3835942"/>
                <a:gd name="connsiteX41" fmla="*/ 158494 w 4510936"/>
                <a:gd name="connsiteY41" fmla="*/ 1544125 h 3835942"/>
                <a:gd name="connsiteX42" fmla="*/ 138294 w 4510936"/>
                <a:gd name="connsiteY42" fmla="*/ 1479051 h 3835942"/>
                <a:gd name="connsiteX43" fmla="*/ 124645 w 4510936"/>
                <a:gd name="connsiteY43" fmla="*/ 1343654 h 3835942"/>
                <a:gd name="connsiteX44" fmla="*/ 534966 w 4510936"/>
                <a:gd name="connsiteY44" fmla="*/ 724623 h 3835942"/>
                <a:gd name="connsiteX45" fmla="*/ 655270 w 4510936"/>
                <a:gd name="connsiteY45" fmla="*/ 687278 h 3835942"/>
                <a:gd name="connsiteX46" fmla="*/ 663127 w 4510936"/>
                <a:gd name="connsiteY46" fmla="*/ 661967 h 3835942"/>
                <a:gd name="connsiteX47" fmla="*/ 1282159 w 4510936"/>
                <a:gd name="connsiteY47" fmla="*/ 251645 h 3835942"/>
                <a:gd name="connsiteX48" fmla="*/ 1417556 w 4510936"/>
                <a:gd name="connsiteY48" fmla="*/ 265294 h 3835942"/>
                <a:gd name="connsiteX49" fmla="*/ 1421411 w 4510936"/>
                <a:gd name="connsiteY49" fmla="*/ 266491 h 3835942"/>
                <a:gd name="connsiteX50" fmla="*/ 1478933 w 4510936"/>
                <a:gd name="connsiteY50" fmla="*/ 196773 h 3835942"/>
                <a:gd name="connsiteX51" fmla="*/ 1953986 w 4510936"/>
                <a:gd name="connsiteY5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948542 w 4510936"/>
                <a:gd name="connsiteY26" fmla="*/ 925827 h 3835942"/>
                <a:gd name="connsiteX27" fmla="*/ 2062843 w 4510936"/>
                <a:gd name="connsiteY27" fmla="*/ 403313 h 3835942"/>
                <a:gd name="connsiteX28" fmla="*/ 1816101 w 4510936"/>
                <a:gd name="connsiteY28" fmla="*/ 780685 h 3835942"/>
                <a:gd name="connsiteX29" fmla="*/ 1455057 w 4510936"/>
                <a:gd name="connsiteY29" fmla="*/ 898614 h 3835942"/>
                <a:gd name="connsiteX30" fmla="*/ 1556657 w 4510936"/>
                <a:gd name="connsiteY30" fmla="*/ 2852599 h 3835942"/>
                <a:gd name="connsiteX31" fmla="*/ 1580115 w 4510936"/>
                <a:gd name="connsiteY31" fmla="*/ 3729193 h 3835942"/>
                <a:gd name="connsiteX32" fmla="*/ 1581642 w 4510936"/>
                <a:gd name="connsiteY32" fmla="*/ 3835942 h 3835942"/>
                <a:gd name="connsiteX33" fmla="*/ 1113971 w 4510936"/>
                <a:gd name="connsiteY33" fmla="*/ 3835942 h 3835942"/>
                <a:gd name="connsiteX34" fmla="*/ 836413 w 4510936"/>
                <a:gd name="connsiteY34" fmla="*/ 3086585 h 3835942"/>
                <a:gd name="connsiteX35" fmla="*/ 116170 w 4510936"/>
                <a:gd name="connsiteY35" fmla="*/ 2308285 h 3835942"/>
                <a:gd name="connsiteX36" fmla="*/ 118297 w 4510936"/>
                <a:gd name="connsiteY36" fmla="*/ 2287181 h 3835942"/>
                <a:gd name="connsiteX37" fmla="*/ 98842 w 4510936"/>
                <a:gd name="connsiteY37" fmla="*/ 2263602 h 3835942"/>
                <a:gd name="connsiteX38" fmla="*/ 0 w 4510936"/>
                <a:gd name="connsiteY38" fmla="*/ 1940013 h 3835942"/>
                <a:gd name="connsiteX39" fmla="*/ 98842 w 4510936"/>
                <a:gd name="connsiteY39" fmla="*/ 1616424 h 3835942"/>
                <a:gd name="connsiteX40" fmla="*/ 158494 w 4510936"/>
                <a:gd name="connsiteY40" fmla="*/ 1544125 h 3835942"/>
                <a:gd name="connsiteX41" fmla="*/ 138294 w 4510936"/>
                <a:gd name="connsiteY41" fmla="*/ 1479051 h 3835942"/>
                <a:gd name="connsiteX42" fmla="*/ 124645 w 4510936"/>
                <a:gd name="connsiteY42" fmla="*/ 1343654 h 3835942"/>
                <a:gd name="connsiteX43" fmla="*/ 534966 w 4510936"/>
                <a:gd name="connsiteY43" fmla="*/ 724623 h 3835942"/>
                <a:gd name="connsiteX44" fmla="*/ 655270 w 4510936"/>
                <a:gd name="connsiteY44" fmla="*/ 687278 h 3835942"/>
                <a:gd name="connsiteX45" fmla="*/ 663127 w 4510936"/>
                <a:gd name="connsiteY45" fmla="*/ 661967 h 3835942"/>
                <a:gd name="connsiteX46" fmla="*/ 1282159 w 4510936"/>
                <a:gd name="connsiteY46" fmla="*/ 251645 h 3835942"/>
                <a:gd name="connsiteX47" fmla="*/ 1417556 w 4510936"/>
                <a:gd name="connsiteY47" fmla="*/ 265294 h 3835942"/>
                <a:gd name="connsiteX48" fmla="*/ 1421411 w 4510936"/>
                <a:gd name="connsiteY48" fmla="*/ 266491 h 3835942"/>
                <a:gd name="connsiteX49" fmla="*/ 1478933 w 4510936"/>
                <a:gd name="connsiteY49" fmla="*/ 196773 h 3835942"/>
                <a:gd name="connsiteX50" fmla="*/ 1953986 w 4510936"/>
                <a:gd name="connsiteY5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062843 w 4510936"/>
                <a:gd name="connsiteY26" fmla="*/ 403313 h 3835942"/>
                <a:gd name="connsiteX27" fmla="*/ 1816101 w 4510936"/>
                <a:gd name="connsiteY27" fmla="*/ 780685 h 3835942"/>
                <a:gd name="connsiteX28" fmla="*/ 1455057 w 4510936"/>
                <a:gd name="connsiteY28" fmla="*/ 898614 h 3835942"/>
                <a:gd name="connsiteX29" fmla="*/ 1556657 w 4510936"/>
                <a:gd name="connsiteY29" fmla="*/ 2852599 h 3835942"/>
                <a:gd name="connsiteX30" fmla="*/ 1580115 w 4510936"/>
                <a:gd name="connsiteY30" fmla="*/ 3729193 h 3835942"/>
                <a:gd name="connsiteX31" fmla="*/ 1581642 w 4510936"/>
                <a:gd name="connsiteY31" fmla="*/ 3835942 h 3835942"/>
                <a:gd name="connsiteX32" fmla="*/ 1113971 w 4510936"/>
                <a:gd name="connsiteY32" fmla="*/ 3835942 h 3835942"/>
                <a:gd name="connsiteX33" fmla="*/ 836413 w 4510936"/>
                <a:gd name="connsiteY33" fmla="*/ 3086585 h 3835942"/>
                <a:gd name="connsiteX34" fmla="*/ 116170 w 4510936"/>
                <a:gd name="connsiteY34" fmla="*/ 2308285 h 3835942"/>
                <a:gd name="connsiteX35" fmla="*/ 118297 w 4510936"/>
                <a:gd name="connsiteY35" fmla="*/ 2287181 h 3835942"/>
                <a:gd name="connsiteX36" fmla="*/ 98842 w 4510936"/>
                <a:gd name="connsiteY36" fmla="*/ 2263602 h 3835942"/>
                <a:gd name="connsiteX37" fmla="*/ 0 w 4510936"/>
                <a:gd name="connsiteY37" fmla="*/ 1940013 h 3835942"/>
                <a:gd name="connsiteX38" fmla="*/ 98842 w 4510936"/>
                <a:gd name="connsiteY38" fmla="*/ 1616424 h 3835942"/>
                <a:gd name="connsiteX39" fmla="*/ 158494 w 4510936"/>
                <a:gd name="connsiteY39" fmla="*/ 1544125 h 3835942"/>
                <a:gd name="connsiteX40" fmla="*/ 138294 w 4510936"/>
                <a:gd name="connsiteY40" fmla="*/ 1479051 h 3835942"/>
                <a:gd name="connsiteX41" fmla="*/ 124645 w 4510936"/>
                <a:gd name="connsiteY41" fmla="*/ 1343654 h 3835942"/>
                <a:gd name="connsiteX42" fmla="*/ 534966 w 4510936"/>
                <a:gd name="connsiteY42" fmla="*/ 724623 h 3835942"/>
                <a:gd name="connsiteX43" fmla="*/ 655270 w 4510936"/>
                <a:gd name="connsiteY43" fmla="*/ 687278 h 3835942"/>
                <a:gd name="connsiteX44" fmla="*/ 663127 w 4510936"/>
                <a:gd name="connsiteY44" fmla="*/ 661967 h 3835942"/>
                <a:gd name="connsiteX45" fmla="*/ 1282159 w 4510936"/>
                <a:gd name="connsiteY45" fmla="*/ 251645 h 3835942"/>
                <a:gd name="connsiteX46" fmla="*/ 1417556 w 4510936"/>
                <a:gd name="connsiteY46" fmla="*/ 265294 h 3835942"/>
                <a:gd name="connsiteX47" fmla="*/ 1421411 w 4510936"/>
                <a:gd name="connsiteY47" fmla="*/ 266491 h 3835942"/>
                <a:gd name="connsiteX48" fmla="*/ 1478933 w 4510936"/>
                <a:gd name="connsiteY48" fmla="*/ 196773 h 3835942"/>
                <a:gd name="connsiteX49" fmla="*/ 1953986 w 4510936"/>
                <a:gd name="connsiteY4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816101 w 4510936"/>
                <a:gd name="connsiteY26" fmla="*/ 780685 h 3835942"/>
                <a:gd name="connsiteX27" fmla="*/ 1455057 w 4510936"/>
                <a:gd name="connsiteY27" fmla="*/ 898614 h 3835942"/>
                <a:gd name="connsiteX28" fmla="*/ 1556657 w 4510936"/>
                <a:gd name="connsiteY28" fmla="*/ 2852599 h 3835942"/>
                <a:gd name="connsiteX29" fmla="*/ 1580115 w 4510936"/>
                <a:gd name="connsiteY29" fmla="*/ 3729193 h 3835942"/>
                <a:gd name="connsiteX30" fmla="*/ 1581642 w 4510936"/>
                <a:gd name="connsiteY30" fmla="*/ 3835942 h 3835942"/>
                <a:gd name="connsiteX31" fmla="*/ 1113971 w 4510936"/>
                <a:gd name="connsiteY31" fmla="*/ 3835942 h 3835942"/>
                <a:gd name="connsiteX32" fmla="*/ 836413 w 4510936"/>
                <a:gd name="connsiteY32" fmla="*/ 3086585 h 3835942"/>
                <a:gd name="connsiteX33" fmla="*/ 116170 w 4510936"/>
                <a:gd name="connsiteY33" fmla="*/ 2308285 h 3835942"/>
                <a:gd name="connsiteX34" fmla="*/ 118297 w 4510936"/>
                <a:gd name="connsiteY34" fmla="*/ 2287181 h 3835942"/>
                <a:gd name="connsiteX35" fmla="*/ 98842 w 4510936"/>
                <a:gd name="connsiteY35" fmla="*/ 2263602 h 3835942"/>
                <a:gd name="connsiteX36" fmla="*/ 0 w 4510936"/>
                <a:gd name="connsiteY36" fmla="*/ 1940013 h 3835942"/>
                <a:gd name="connsiteX37" fmla="*/ 98842 w 4510936"/>
                <a:gd name="connsiteY37" fmla="*/ 1616424 h 3835942"/>
                <a:gd name="connsiteX38" fmla="*/ 158494 w 4510936"/>
                <a:gd name="connsiteY38" fmla="*/ 1544125 h 3835942"/>
                <a:gd name="connsiteX39" fmla="*/ 138294 w 4510936"/>
                <a:gd name="connsiteY39" fmla="*/ 1479051 h 3835942"/>
                <a:gd name="connsiteX40" fmla="*/ 124645 w 4510936"/>
                <a:gd name="connsiteY40" fmla="*/ 1343654 h 3835942"/>
                <a:gd name="connsiteX41" fmla="*/ 534966 w 4510936"/>
                <a:gd name="connsiteY41" fmla="*/ 724623 h 3835942"/>
                <a:gd name="connsiteX42" fmla="*/ 655270 w 4510936"/>
                <a:gd name="connsiteY42" fmla="*/ 687278 h 3835942"/>
                <a:gd name="connsiteX43" fmla="*/ 663127 w 4510936"/>
                <a:gd name="connsiteY43" fmla="*/ 661967 h 3835942"/>
                <a:gd name="connsiteX44" fmla="*/ 1282159 w 4510936"/>
                <a:gd name="connsiteY44" fmla="*/ 251645 h 3835942"/>
                <a:gd name="connsiteX45" fmla="*/ 1417556 w 4510936"/>
                <a:gd name="connsiteY45" fmla="*/ 265294 h 3835942"/>
                <a:gd name="connsiteX46" fmla="*/ 1421411 w 4510936"/>
                <a:gd name="connsiteY46" fmla="*/ 266491 h 3835942"/>
                <a:gd name="connsiteX47" fmla="*/ 1478933 w 4510936"/>
                <a:gd name="connsiteY47" fmla="*/ 196773 h 3835942"/>
                <a:gd name="connsiteX48" fmla="*/ 1953986 w 4510936"/>
                <a:gd name="connsiteY4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455057 w 4510936"/>
                <a:gd name="connsiteY26" fmla="*/ 898614 h 3835942"/>
                <a:gd name="connsiteX27" fmla="*/ 1556657 w 4510936"/>
                <a:gd name="connsiteY27" fmla="*/ 2852599 h 3835942"/>
                <a:gd name="connsiteX28" fmla="*/ 1580115 w 4510936"/>
                <a:gd name="connsiteY28" fmla="*/ 3729193 h 3835942"/>
                <a:gd name="connsiteX29" fmla="*/ 1581642 w 4510936"/>
                <a:gd name="connsiteY29" fmla="*/ 3835942 h 3835942"/>
                <a:gd name="connsiteX30" fmla="*/ 1113971 w 4510936"/>
                <a:gd name="connsiteY30" fmla="*/ 3835942 h 3835942"/>
                <a:gd name="connsiteX31" fmla="*/ 836413 w 4510936"/>
                <a:gd name="connsiteY31" fmla="*/ 3086585 h 3835942"/>
                <a:gd name="connsiteX32" fmla="*/ 116170 w 4510936"/>
                <a:gd name="connsiteY32" fmla="*/ 2308285 h 3835942"/>
                <a:gd name="connsiteX33" fmla="*/ 118297 w 4510936"/>
                <a:gd name="connsiteY33" fmla="*/ 2287181 h 3835942"/>
                <a:gd name="connsiteX34" fmla="*/ 98842 w 4510936"/>
                <a:gd name="connsiteY34" fmla="*/ 2263602 h 3835942"/>
                <a:gd name="connsiteX35" fmla="*/ 0 w 4510936"/>
                <a:gd name="connsiteY35" fmla="*/ 1940013 h 3835942"/>
                <a:gd name="connsiteX36" fmla="*/ 98842 w 4510936"/>
                <a:gd name="connsiteY36" fmla="*/ 1616424 h 3835942"/>
                <a:gd name="connsiteX37" fmla="*/ 158494 w 4510936"/>
                <a:gd name="connsiteY37" fmla="*/ 1544125 h 3835942"/>
                <a:gd name="connsiteX38" fmla="*/ 138294 w 4510936"/>
                <a:gd name="connsiteY38" fmla="*/ 1479051 h 3835942"/>
                <a:gd name="connsiteX39" fmla="*/ 124645 w 4510936"/>
                <a:gd name="connsiteY39" fmla="*/ 1343654 h 3835942"/>
                <a:gd name="connsiteX40" fmla="*/ 534966 w 4510936"/>
                <a:gd name="connsiteY40" fmla="*/ 724623 h 3835942"/>
                <a:gd name="connsiteX41" fmla="*/ 655270 w 4510936"/>
                <a:gd name="connsiteY41" fmla="*/ 687278 h 3835942"/>
                <a:gd name="connsiteX42" fmla="*/ 663127 w 4510936"/>
                <a:gd name="connsiteY42" fmla="*/ 661967 h 3835942"/>
                <a:gd name="connsiteX43" fmla="*/ 1282159 w 4510936"/>
                <a:gd name="connsiteY43" fmla="*/ 251645 h 3835942"/>
                <a:gd name="connsiteX44" fmla="*/ 1417556 w 4510936"/>
                <a:gd name="connsiteY44" fmla="*/ 265294 h 3835942"/>
                <a:gd name="connsiteX45" fmla="*/ 1421411 w 4510936"/>
                <a:gd name="connsiteY45" fmla="*/ 266491 h 3835942"/>
                <a:gd name="connsiteX46" fmla="*/ 1478933 w 4510936"/>
                <a:gd name="connsiteY46" fmla="*/ 196773 h 3835942"/>
                <a:gd name="connsiteX47" fmla="*/ 1953986 w 4510936"/>
                <a:gd name="connsiteY4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556657 w 4510936"/>
                <a:gd name="connsiteY26" fmla="*/ 2852599 h 3835942"/>
                <a:gd name="connsiteX27" fmla="*/ 1580115 w 4510936"/>
                <a:gd name="connsiteY27" fmla="*/ 3729193 h 3835942"/>
                <a:gd name="connsiteX28" fmla="*/ 1581642 w 4510936"/>
                <a:gd name="connsiteY28" fmla="*/ 3835942 h 3835942"/>
                <a:gd name="connsiteX29" fmla="*/ 1113971 w 4510936"/>
                <a:gd name="connsiteY29" fmla="*/ 3835942 h 3835942"/>
                <a:gd name="connsiteX30" fmla="*/ 836413 w 4510936"/>
                <a:gd name="connsiteY30" fmla="*/ 3086585 h 3835942"/>
                <a:gd name="connsiteX31" fmla="*/ 116170 w 4510936"/>
                <a:gd name="connsiteY31" fmla="*/ 2308285 h 3835942"/>
                <a:gd name="connsiteX32" fmla="*/ 118297 w 4510936"/>
                <a:gd name="connsiteY32" fmla="*/ 2287181 h 3835942"/>
                <a:gd name="connsiteX33" fmla="*/ 98842 w 4510936"/>
                <a:gd name="connsiteY33" fmla="*/ 2263602 h 3835942"/>
                <a:gd name="connsiteX34" fmla="*/ 0 w 4510936"/>
                <a:gd name="connsiteY34" fmla="*/ 1940013 h 3835942"/>
                <a:gd name="connsiteX35" fmla="*/ 98842 w 4510936"/>
                <a:gd name="connsiteY35" fmla="*/ 1616424 h 3835942"/>
                <a:gd name="connsiteX36" fmla="*/ 158494 w 4510936"/>
                <a:gd name="connsiteY36" fmla="*/ 1544125 h 3835942"/>
                <a:gd name="connsiteX37" fmla="*/ 138294 w 4510936"/>
                <a:gd name="connsiteY37" fmla="*/ 1479051 h 3835942"/>
                <a:gd name="connsiteX38" fmla="*/ 124645 w 4510936"/>
                <a:gd name="connsiteY38" fmla="*/ 1343654 h 3835942"/>
                <a:gd name="connsiteX39" fmla="*/ 534966 w 4510936"/>
                <a:gd name="connsiteY39" fmla="*/ 724623 h 3835942"/>
                <a:gd name="connsiteX40" fmla="*/ 655270 w 4510936"/>
                <a:gd name="connsiteY40" fmla="*/ 687278 h 3835942"/>
                <a:gd name="connsiteX41" fmla="*/ 663127 w 4510936"/>
                <a:gd name="connsiteY41" fmla="*/ 661967 h 3835942"/>
                <a:gd name="connsiteX42" fmla="*/ 1282159 w 4510936"/>
                <a:gd name="connsiteY42" fmla="*/ 251645 h 3835942"/>
                <a:gd name="connsiteX43" fmla="*/ 1417556 w 4510936"/>
                <a:gd name="connsiteY43" fmla="*/ 265294 h 3835942"/>
                <a:gd name="connsiteX44" fmla="*/ 1421411 w 4510936"/>
                <a:gd name="connsiteY44" fmla="*/ 266491 h 3835942"/>
                <a:gd name="connsiteX45" fmla="*/ 1478933 w 4510936"/>
                <a:gd name="connsiteY45" fmla="*/ 196773 h 3835942"/>
                <a:gd name="connsiteX46" fmla="*/ 1953986 w 4510936"/>
                <a:gd name="connsiteY4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1556657 w 4510936"/>
                <a:gd name="connsiteY25" fmla="*/ 2852599 h 3835942"/>
                <a:gd name="connsiteX26" fmla="*/ 1580115 w 4510936"/>
                <a:gd name="connsiteY26" fmla="*/ 3729193 h 3835942"/>
                <a:gd name="connsiteX27" fmla="*/ 1581642 w 4510936"/>
                <a:gd name="connsiteY27" fmla="*/ 3835942 h 3835942"/>
                <a:gd name="connsiteX28" fmla="*/ 1113971 w 4510936"/>
                <a:gd name="connsiteY28" fmla="*/ 3835942 h 3835942"/>
                <a:gd name="connsiteX29" fmla="*/ 836413 w 4510936"/>
                <a:gd name="connsiteY29" fmla="*/ 3086585 h 3835942"/>
                <a:gd name="connsiteX30" fmla="*/ 116170 w 4510936"/>
                <a:gd name="connsiteY30" fmla="*/ 2308285 h 3835942"/>
                <a:gd name="connsiteX31" fmla="*/ 118297 w 4510936"/>
                <a:gd name="connsiteY31" fmla="*/ 2287181 h 3835942"/>
                <a:gd name="connsiteX32" fmla="*/ 98842 w 4510936"/>
                <a:gd name="connsiteY32" fmla="*/ 2263602 h 3835942"/>
                <a:gd name="connsiteX33" fmla="*/ 0 w 4510936"/>
                <a:gd name="connsiteY33" fmla="*/ 1940013 h 3835942"/>
                <a:gd name="connsiteX34" fmla="*/ 98842 w 4510936"/>
                <a:gd name="connsiteY34" fmla="*/ 1616424 h 3835942"/>
                <a:gd name="connsiteX35" fmla="*/ 158494 w 4510936"/>
                <a:gd name="connsiteY35" fmla="*/ 1544125 h 3835942"/>
                <a:gd name="connsiteX36" fmla="*/ 138294 w 4510936"/>
                <a:gd name="connsiteY36" fmla="*/ 1479051 h 3835942"/>
                <a:gd name="connsiteX37" fmla="*/ 124645 w 4510936"/>
                <a:gd name="connsiteY37" fmla="*/ 1343654 h 3835942"/>
                <a:gd name="connsiteX38" fmla="*/ 534966 w 4510936"/>
                <a:gd name="connsiteY38" fmla="*/ 724623 h 3835942"/>
                <a:gd name="connsiteX39" fmla="*/ 655270 w 4510936"/>
                <a:gd name="connsiteY39" fmla="*/ 687278 h 3835942"/>
                <a:gd name="connsiteX40" fmla="*/ 663127 w 4510936"/>
                <a:gd name="connsiteY40" fmla="*/ 661967 h 3835942"/>
                <a:gd name="connsiteX41" fmla="*/ 1282159 w 4510936"/>
                <a:gd name="connsiteY41" fmla="*/ 251645 h 3835942"/>
                <a:gd name="connsiteX42" fmla="*/ 1417556 w 4510936"/>
                <a:gd name="connsiteY42" fmla="*/ 265294 h 3835942"/>
                <a:gd name="connsiteX43" fmla="*/ 1421411 w 4510936"/>
                <a:gd name="connsiteY43" fmla="*/ 266491 h 3835942"/>
                <a:gd name="connsiteX44" fmla="*/ 1478933 w 4510936"/>
                <a:gd name="connsiteY44" fmla="*/ 196773 h 3835942"/>
                <a:gd name="connsiteX45" fmla="*/ 1953986 w 4510936"/>
                <a:gd name="connsiteY4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850570 w 4510936"/>
                <a:gd name="connsiteY22" fmla="*/ 2130513 h 3835942"/>
                <a:gd name="connsiteX23" fmla="*/ 2148114 w 4510936"/>
                <a:gd name="connsiteY23" fmla="*/ 1901913 h 3835942"/>
                <a:gd name="connsiteX24" fmla="*/ 1556657 w 4510936"/>
                <a:gd name="connsiteY24" fmla="*/ 2852599 h 3835942"/>
                <a:gd name="connsiteX25" fmla="*/ 1580115 w 4510936"/>
                <a:gd name="connsiteY25" fmla="*/ 3729193 h 3835942"/>
                <a:gd name="connsiteX26" fmla="*/ 1581642 w 4510936"/>
                <a:gd name="connsiteY26" fmla="*/ 3835942 h 3835942"/>
                <a:gd name="connsiteX27" fmla="*/ 1113971 w 4510936"/>
                <a:gd name="connsiteY27" fmla="*/ 3835942 h 3835942"/>
                <a:gd name="connsiteX28" fmla="*/ 836413 w 4510936"/>
                <a:gd name="connsiteY28" fmla="*/ 3086585 h 3835942"/>
                <a:gd name="connsiteX29" fmla="*/ 116170 w 4510936"/>
                <a:gd name="connsiteY29" fmla="*/ 2308285 h 3835942"/>
                <a:gd name="connsiteX30" fmla="*/ 118297 w 4510936"/>
                <a:gd name="connsiteY30" fmla="*/ 2287181 h 3835942"/>
                <a:gd name="connsiteX31" fmla="*/ 98842 w 4510936"/>
                <a:gd name="connsiteY31" fmla="*/ 2263602 h 3835942"/>
                <a:gd name="connsiteX32" fmla="*/ 0 w 4510936"/>
                <a:gd name="connsiteY32" fmla="*/ 1940013 h 3835942"/>
                <a:gd name="connsiteX33" fmla="*/ 98842 w 4510936"/>
                <a:gd name="connsiteY33" fmla="*/ 1616424 h 3835942"/>
                <a:gd name="connsiteX34" fmla="*/ 158494 w 4510936"/>
                <a:gd name="connsiteY34" fmla="*/ 1544125 h 3835942"/>
                <a:gd name="connsiteX35" fmla="*/ 138294 w 4510936"/>
                <a:gd name="connsiteY35" fmla="*/ 1479051 h 3835942"/>
                <a:gd name="connsiteX36" fmla="*/ 124645 w 4510936"/>
                <a:gd name="connsiteY36" fmla="*/ 1343654 h 3835942"/>
                <a:gd name="connsiteX37" fmla="*/ 534966 w 4510936"/>
                <a:gd name="connsiteY37" fmla="*/ 724623 h 3835942"/>
                <a:gd name="connsiteX38" fmla="*/ 655270 w 4510936"/>
                <a:gd name="connsiteY38" fmla="*/ 687278 h 3835942"/>
                <a:gd name="connsiteX39" fmla="*/ 663127 w 4510936"/>
                <a:gd name="connsiteY39" fmla="*/ 661967 h 3835942"/>
                <a:gd name="connsiteX40" fmla="*/ 1282159 w 4510936"/>
                <a:gd name="connsiteY40" fmla="*/ 251645 h 3835942"/>
                <a:gd name="connsiteX41" fmla="*/ 1417556 w 4510936"/>
                <a:gd name="connsiteY41" fmla="*/ 265294 h 3835942"/>
                <a:gd name="connsiteX42" fmla="*/ 1421411 w 4510936"/>
                <a:gd name="connsiteY42" fmla="*/ 266491 h 3835942"/>
                <a:gd name="connsiteX43" fmla="*/ 1478933 w 4510936"/>
                <a:gd name="connsiteY43" fmla="*/ 196773 h 3835942"/>
                <a:gd name="connsiteX44" fmla="*/ 1953986 w 4510936"/>
                <a:gd name="connsiteY4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850570 w 4510936"/>
                <a:gd name="connsiteY21" fmla="*/ 2130513 h 3835942"/>
                <a:gd name="connsiteX22" fmla="*/ 2148114 w 4510936"/>
                <a:gd name="connsiteY22" fmla="*/ 1901913 h 3835942"/>
                <a:gd name="connsiteX23" fmla="*/ 1556657 w 4510936"/>
                <a:gd name="connsiteY23" fmla="*/ 2852599 h 3835942"/>
                <a:gd name="connsiteX24" fmla="*/ 1580115 w 4510936"/>
                <a:gd name="connsiteY24" fmla="*/ 3729193 h 3835942"/>
                <a:gd name="connsiteX25" fmla="*/ 1581642 w 4510936"/>
                <a:gd name="connsiteY25" fmla="*/ 3835942 h 3835942"/>
                <a:gd name="connsiteX26" fmla="*/ 1113971 w 4510936"/>
                <a:gd name="connsiteY26" fmla="*/ 3835942 h 3835942"/>
                <a:gd name="connsiteX27" fmla="*/ 836413 w 4510936"/>
                <a:gd name="connsiteY27" fmla="*/ 3086585 h 3835942"/>
                <a:gd name="connsiteX28" fmla="*/ 116170 w 4510936"/>
                <a:gd name="connsiteY28" fmla="*/ 2308285 h 3835942"/>
                <a:gd name="connsiteX29" fmla="*/ 118297 w 4510936"/>
                <a:gd name="connsiteY29" fmla="*/ 2287181 h 3835942"/>
                <a:gd name="connsiteX30" fmla="*/ 98842 w 4510936"/>
                <a:gd name="connsiteY30" fmla="*/ 2263602 h 3835942"/>
                <a:gd name="connsiteX31" fmla="*/ 0 w 4510936"/>
                <a:gd name="connsiteY31" fmla="*/ 1940013 h 3835942"/>
                <a:gd name="connsiteX32" fmla="*/ 98842 w 4510936"/>
                <a:gd name="connsiteY32" fmla="*/ 1616424 h 3835942"/>
                <a:gd name="connsiteX33" fmla="*/ 158494 w 4510936"/>
                <a:gd name="connsiteY33" fmla="*/ 1544125 h 3835942"/>
                <a:gd name="connsiteX34" fmla="*/ 138294 w 4510936"/>
                <a:gd name="connsiteY34" fmla="*/ 1479051 h 3835942"/>
                <a:gd name="connsiteX35" fmla="*/ 124645 w 4510936"/>
                <a:gd name="connsiteY35" fmla="*/ 1343654 h 3835942"/>
                <a:gd name="connsiteX36" fmla="*/ 534966 w 4510936"/>
                <a:gd name="connsiteY36" fmla="*/ 724623 h 3835942"/>
                <a:gd name="connsiteX37" fmla="*/ 655270 w 4510936"/>
                <a:gd name="connsiteY37" fmla="*/ 687278 h 3835942"/>
                <a:gd name="connsiteX38" fmla="*/ 663127 w 4510936"/>
                <a:gd name="connsiteY38" fmla="*/ 661967 h 3835942"/>
                <a:gd name="connsiteX39" fmla="*/ 1282159 w 4510936"/>
                <a:gd name="connsiteY39" fmla="*/ 251645 h 3835942"/>
                <a:gd name="connsiteX40" fmla="*/ 1417556 w 4510936"/>
                <a:gd name="connsiteY40" fmla="*/ 265294 h 3835942"/>
                <a:gd name="connsiteX41" fmla="*/ 1421411 w 4510936"/>
                <a:gd name="connsiteY41" fmla="*/ 266491 h 3835942"/>
                <a:gd name="connsiteX42" fmla="*/ 1478933 w 4510936"/>
                <a:gd name="connsiteY42" fmla="*/ 196773 h 3835942"/>
                <a:gd name="connsiteX43" fmla="*/ 1953986 w 4510936"/>
                <a:gd name="connsiteY4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850570 w 4510936"/>
                <a:gd name="connsiteY20" fmla="*/ 2130513 h 3835942"/>
                <a:gd name="connsiteX21" fmla="*/ 2148114 w 4510936"/>
                <a:gd name="connsiteY21" fmla="*/ 1901913 h 3835942"/>
                <a:gd name="connsiteX22" fmla="*/ 1556657 w 4510936"/>
                <a:gd name="connsiteY22" fmla="*/ 2852599 h 3835942"/>
                <a:gd name="connsiteX23" fmla="*/ 1580115 w 4510936"/>
                <a:gd name="connsiteY23" fmla="*/ 3729193 h 3835942"/>
                <a:gd name="connsiteX24" fmla="*/ 1581642 w 4510936"/>
                <a:gd name="connsiteY24" fmla="*/ 3835942 h 3835942"/>
                <a:gd name="connsiteX25" fmla="*/ 1113971 w 4510936"/>
                <a:gd name="connsiteY25" fmla="*/ 3835942 h 3835942"/>
                <a:gd name="connsiteX26" fmla="*/ 836413 w 4510936"/>
                <a:gd name="connsiteY26" fmla="*/ 3086585 h 3835942"/>
                <a:gd name="connsiteX27" fmla="*/ 116170 w 4510936"/>
                <a:gd name="connsiteY27" fmla="*/ 2308285 h 3835942"/>
                <a:gd name="connsiteX28" fmla="*/ 118297 w 4510936"/>
                <a:gd name="connsiteY28" fmla="*/ 2287181 h 3835942"/>
                <a:gd name="connsiteX29" fmla="*/ 98842 w 4510936"/>
                <a:gd name="connsiteY29" fmla="*/ 2263602 h 3835942"/>
                <a:gd name="connsiteX30" fmla="*/ 0 w 4510936"/>
                <a:gd name="connsiteY30" fmla="*/ 1940013 h 3835942"/>
                <a:gd name="connsiteX31" fmla="*/ 98842 w 4510936"/>
                <a:gd name="connsiteY31" fmla="*/ 1616424 h 3835942"/>
                <a:gd name="connsiteX32" fmla="*/ 158494 w 4510936"/>
                <a:gd name="connsiteY32" fmla="*/ 1544125 h 3835942"/>
                <a:gd name="connsiteX33" fmla="*/ 138294 w 4510936"/>
                <a:gd name="connsiteY33" fmla="*/ 1479051 h 3835942"/>
                <a:gd name="connsiteX34" fmla="*/ 124645 w 4510936"/>
                <a:gd name="connsiteY34" fmla="*/ 1343654 h 3835942"/>
                <a:gd name="connsiteX35" fmla="*/ 534966 w 4510936"/>
                <a:gd name="connsiteY35" fmla="*/ 724623 h 3835942"/>
                <a:gd name="connsiteX36" fmla="*/ 655270 w 4510936"/>
                <a:gd name="connsiteY36" fmla="*/ 687278 h 3835942"/>
                <a:gd name="connsiteX37" fmla="*/ 663127 w 4510936"/>
                <a:gd name="connsiteY37" fmla="*/ 661967 h 3835942"/>
                <a:gd name="connsiteX38" fmla="*/ 1282159 w 4510936"/>
                <a:gd name="connsiteY38" fmla="*/ 251645 h 3835942"/>
                <a:gd name="connsiteX39" fmla="*/ 1417556 w 4510936"/>
                <a:gd name="connsiteY39" fmla="*/ 265294 h 3835942"/>
                <a:gd name="connsiteX40" fmla="*/ 1421411 w 4510936"/>
                <a:gd name="connsiteY40" fmla="*/ 266491 h 3835942"/>
                <a:gd name="connsiteX41" fmla="*/ 1478933 w 4510936"/>
                <a:gd name="connsiteY41" fmla="*/ 196773 h 3835942"/>
                <a:gd name="connsiteX42" fmla="*/ 1953986 w 4510936"/>
                <a:gd name="connsiteY4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850570 w 4510936"/>
                <a:gd name="connsiteY19" fmla="*/ 2130513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33865 w 4510936"/>
                <a:gd name="connsiteY19" fmla="*/ 1977965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33865 w 4510936"/>
                <a:gd name="connsiteY18" fmla="*/ 1977965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48114 w 4510936"/>
                <a:gd name="connsiteY18" fmla="*/ 1901913 h 3835942"/>
                <a:gd name="connsiteX19" fmla="*/ 1556657 w 4510936"/>
                <a:gd name="connsiteY19" fmla="*/ 2852599 h 3835942"/>
                <a:gd name="connsiteX20" fmla="*/ 1580115 w 4510936"/>
                <a:gd name="connsiteY20" fmla="*/ 3729193 h 3835942"/>
                <a:gd name="connsiteX21" fmla="*/ 1581642 w 4510936"/>
                <a:gd name="connsiteY21" fmla="*/ 3835942 h 3835942"/>
                <a:gd name="connsiteX22" fmla="*/ 1113971 w 4510936"/>
                <a:gd name="connsiteY22" fmla="*/ 3835942 h 3835942"/>
                <a:gd name="connsiteX23" fmla="*/ 836413 w 4510936"/>
                <a:gd name="connsiteY23" fmla="*/ 3086585 h 3835942"/>
                <a:gd name="connsiteX24" fmla="*/ 116170 w 4510936"/>
                <a:gd name="connsiteY24" fmla="*/ 2308285 h 3835942"/>
                <a:gd name="connsiteX25" fmla="*/ 118297 w 4510936"/>
                <a:gd name="connsiteY25" fmla="*/ 2287181 h 3835942"/>
                <a:gd name="connsiteX26" fmla="*/ 98842 w 4510936"/>
                <a:gd name="connsiteY26" fmla="*/ 2263602 h 3835942"/>
                <a:gd name="connsiteX27" fmla="*/ 0 w 4510936"/>
                <a:gd name="connsiteY27" fmla="*/ 1940013 h 3835942"/>
                <a:gd name="connsiteX28" fmla="*/ 98842 w 4510936"/>
                <a:gd name="connsiteY28" fmla="*/ 1616424 h 3835942"/>
                <a:gd name="connsiteX29" fmla="*/ 158494 w 4510936"/>
                <a:gd name="connsiteY29" fmla="*/ 1544125 h 3835942"/>
                <a:gd name="connsiteX30" fmla="*/ 138294 w 4510936"/>
                <a:gd name="connsiteY30" fmla="*/ 1479051 h 3835942"/>
                <a:gd name="connsiteX31" fmla="*/ 124645 w 4510936"/>
                <a:gd name="connsiteY31" fmla="*/ 1343654 h 3835942"/>
                <a:gd name="connsiteX32" fmla="*/ 534966 w 4510936"/>
                <a:gd name="connsiteY32" fmla="*/ 724623 h 3835942"/>
                <a:gd name="connsiteX33" fmla="*/ 655270 w 4510936"/>
                <a:gd name="connsiteY33" fmla="*/ 687278 h 3835942"/>
                <a:gd name="connsiteX34" fmla="*/ 663127 w 4510936"/>
                <a:gd name="connsiteY34" fmla="*/ 661967 h 3835942"/>
                <a:gd name="connsiteX35" fmla="*/ 1282159 w 4510936"/>
                <a:gd name="connsiteY35" fmla="*/ 251645 h 3835942"/>
                <a:gd name="connsiteX36" fmla="*/ 1417556 w 4510936"/>
                <a:gd name="connsiteY36" fmla="*/ 265294 h 3835942"/>
                <a:gd name="connsiteX37" fmla="*/ 1421411 w 4510936"/>
                <a:gd name="connsiteY37" fmla="*/ 266491 h 3835942"/>
                <a:gd name="connsiteX38" fmla="*/ 1478933 w 4510936"/>
                <a:gd name="connsiteY38" fmla="*/ 196773 h 3835942"/>
                <a:gd name="connsiteX39" fmla="*/ 1953986 w 4510936"/>
                <a:gd name="connsiteY3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556657 w 4510936"/>
                <a:gd name="connsiteY18" fmla="*/ 2852599 h 3835942"/>
                <a:gd name="connsiteX19" fmla="*/ 1580115 w 4510936"/>
                <a:gd name="connsiteY19" fmla="*/ 3729193 h 3835942"/>
                <a:gd name="connsiteX20" fmla="*/ 1581642 w 4510936"/>
                <a:gd name="connsiteY20" fmla="*/ 3835942 h 3835942"/>
                <a:gd name="connsiteX21" fmla="*/ 1113971 w 4510936"/>
                <a:gd name="connsiteY21" fmla="*/ 3835942 h 3835942"/>
                <a:gd name="connsiteX22" fmla="*/ 836413 w 4510936"/>
                <a:gd name="connsiteY22" fmla="*/ 3086585 h 3835942"/>
                <a:gd name="connsiteX23" fmla="*/ 116170 w 4510936"/>
                <a:gd name="connsiteY23" fmla="*/ 2308285 h 3835942"/>
                <a:gd name="connsiteX24" fmla="*/ 118297 w 4510936"/>
                <a:gd name="connsiteY24" fmla="*/ 2287181 h 3835942"/>
                <a:gd name="connsiteX25" fmla="*/ 98842 w 4510936"/>
                <a:gd name="connsiteY25" fmla="*/ 2263602 h 3835942"/>
                <a:gd name="connsiteX26" fmla="*/ 0 w 4510936"/>
                <a:gd name="connsiteY26" fmla="*/ 1940013 h 3835942"/>
                <a:gd name="connsiteX27" fmla="*/ 98842 w 4510936"/>
                <a:gd name="connsiteY27" fmla="*/ 1616424 h 3835942"/>
                <a:gd name="connsiteX28" fmla="*/ 158494 w 4510936"/>
                <a:gd name="connsiteY28" fmla="*/ 1544125 h 3835942"/>
                <a:gd name="connsiteX29" fmla="*/ 138294 w 4510936"/>
                <a:gd name="connsiteY29" fmla="*/ 1479051 h 3835942"/>
                <a:gd name="connsiteX30" fmla="*/ 124645 w 4510936"/>
                <a:gd name="connsiteY30" fmla="*/ 1343654 h 3835942"/>
                <a:gd name="connsiteX31" fmla="*/ 534966 w 4510936"/>
                <a:gd name="connsiteY31" fmla="*/ 724623 h 3835942"/>
                <a:gd name="connsiteX32" fmla="*/ 655270 w 4510936"/>
                <a:gd name="connsiteY32" fmla="*/ 687278 h 3835942"/>
                <a:gd name="connsiteX33" fmla="*/ 663127 w 4510936"/>
                <a:gd name="connsiteY33" fmla="*/ 661967 h 3835942"/>
                <a:gd name="connsiteX34" fmla="*/ 1282159 w 4510936"/>
                <a:gd name="connsiteY34" fmla="*/ 251645 h 3835942"/>
                <a:gd name="connsiteX35" fmla="*/ 1417556 w 4510936"/>
                <a:gd name="connsiteY35" fmla="*/ 265294 h 3835942"/>
                <a:gd name="connsiteX36" fmla="*/ 1421411 w 4510936"/>
                <a:gd name="connsiteY36" fmla="*/ 266491 h 3835942"/>
                <a:gd name="connsiteX37" fmla="*/ 1478933 w 4510936"/>
                <a:gd name="connsiteY37" fmla="*/ 196773 h 3835942"/>
                <a:gd name="connsiteX38" fmla="*/ 1953986 w 4510936"/>
                <a:gd name="connsiteY3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0115 w 4510936"/>
                <a:gd name="connsiteY18" fmla="*/ 3729193 h 3835942"/>
                <a:gd name="connsiteX19" fmla="*/ 1581642 w 4510936"/>
                <a:gd name="connsiteY19" fmla="*/ 3835942 h 3835942"/>
                <a:gd name="connsiteX20" fmla="*/ 1113971 w 4510936"/>
                <a:gd name="connsiteY20" fmla="*/ 3835942 h 3835942"/>
                <a:gd name="connsiteX21" fmla="*/ 836413 w 4510936"/>
                <a:gd name="connsiteY21" fmla="*/ 3086585 h 3835942"/>
                <a:gd name="connsiteX22" fmla="*/ 116170 w 4510936"/>
                <a:gd name="connsiteY22" fmla="*/ 2308285 h 3835942"/>
                <a:gd name="connsiteX23" fmla="*/ 118297 w 4510936"/>
                <a:gd name="connsiteY23" fmla="*/ 2287181 h 3835942"/>
                <a:gd name="connsiteX24" fmla="*/ 98842 w 4510936"/>
                <a:gd name="connsiteY24" fmla="*/ 2263602 h 3835942"/>
                <a:gd name="connsiteX25" fmla="*/ 0 w 4510936"/>
                <a:gd name="connsiteY25" fmla="*/ 1940013 h 3835942"/>
                <a:gd name="connsiteX26" fmla="*/ 98842 w 4510936"/>
                <a:gd name="connsiteY26" fmla="*/ 1616424 h 3835942"/>
                <a:gd name="connsiteX27" fmla="*/ 158494 w 4510936"/>
                <a:gd name="connsiteY27" fmla="*/ 1544125 h 3835942"/>
                <a:gd name="connsiteX28" fmla="*/ 138294 w 4510936"/>
                <a:gd name="connsiteY28" fmla="*/ 1479051 h 3835942"/>
                <a:gd name="connsiteX29" fmla="*/ 124645 w 4510936"/>
                <a:gd name="connsiteY29" fmla="*/ 1343654 h 3835942"/>
                <a:gd name="connsiteX30" fmla="*/ 534966 w 4510936"/>
                <a:gd name="connsiteY30" fmla="*/ 724623 h 3835942"/>
                <a:gd name="connsiteX31" fmla="*/ 655270 w 4510936"/>
                <a:gd name="connsiteY31" fmla="*/ 687278 h 3835942"/>
                <a:gd name="connsiteX32" fmla="*/ 663127 w 4510936"/>
                <a:gd name="connsiteY32" fmla="*/ 661967 h 3835942"/>
                <a:gd name="connsiteX33" fmla="*/ 1282159 w 4510936"/>
                <a:gd name="connsiteY33" fmla="*/ 251645 h 3835942"/>
                <a:gd name="connsiteX34" fmla="*/ 1417556 w 4510936"/>
                <a:gd name="connsiteY34" fmla="*/ 265294 h 3835942"/>
                <a:gd name="connsiteX35" fmla="*/ 1421411 w 4510936"/>
                <a:gd name="connsiteY35" fmla="*/ 266491 h 3835942"/>
                <a:gd name="connsiteX36" fmla="*/ 1478933 w 4510936"/>
                <a:gd name="connsiteY36" fmla="*/ 196773 h 3835942"/>
                <a:gd name="connsiteX37" fmla="*/ 1953986 w 4510936"/>
                <a:gd name="connsiteY3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1642 w 4510936"/>
                <a:gd name="connsiteY18" fmla="*/ 3835942 h 3835942"/>
                <a:gd name="connsiteX19" fmla="*/ 1113971 w 4510936"/>
                <a:gd name="connsiteY19" fmla="*/ 3835942 h 3835942"/>
                <a:gd name="connsiteX20" fmla="*/ 836413 w 4510936"/>
                <a:gd name="connsiteY20" fmla="*/ 3086585 h 3835942"/>
                <a:gd name="connsiteX21" fmla="*/ 116170 w 4510936"/>
                <a:gd name="connsiteY21" fmla="*/ 2308285 h 3835942"/>
                <a:gd name="connsiteX22" fmla="*/ 118297 w 4510936"/>
                <a:gd name="connsiteY22" fmla="*/ 2287181 h 3835942"/>
                <a:gd name="connsiteX23" fmla="*/ 98842 w 4510936"/>
                <a:gd name="connsiteY23" fmla="*/ 2263602 h 3835942"/>
                <a:gd name="connsiteX24" fmla="*/ 0 w 4510936"/>
                <a:gd name="connsiteY24" fmla="*/ 1940013 h 3835942"/>
                <a:gd name="connsiteX25" fmla="*/ 98842 w 4510936"/>
                <a:gd name="connsiteY25" fmla="*/ 1616424 h 3835942"/>
                <a:gd name="connsiteX26" fmla="*/ 158494 w 4510936"/>
                <a:gd name="connsiteY26" fmla="*/ 1544125 h 3835942"/>
                <a:gd name="connsiteX27" fmla="*/ 138294 w 4510936"/>
                <a:gd name="connsiteY27" fmla="*/ 1479051 h 3835942"/>
                <a:gd name="connsiteX28" fmla="*/ 124645 w 4510936"/>
                <a:gd name="connsiteY28" fmla="*/ 1343654 h 3835942"/>
                <a:gd name="connsiteX29" fmla="*/ 534966 w 4510936"/>
                <a:gd name="connsiteY29" fmla="*/ 724623 h 3835942"/>
                <a:gd name="connsiteX30" fmla="*/ 655270 w 4510936"/>
                <a:gd name="connsiteY30" fmla="*/ 687278 h 3835942"/>
                <a:gd name="connsiteX31" fmla="*/ 663127 w 4510936"/>
                <a:gd name="connsiteY31" fmla="*/ 661967 h 3835942"/>
                <a:gd name="connsiteX32" fmla="*/ 1282159 w 4510936"/>
                <a:gd name="connsiteY32" fmla="*/ 251645 h 3835942"/>
                <a:gd name="connsiteX33" fmla="*/ 1417556 w 4510936"/>
                <a:gd name="connsiteY33" fmla="*/ 265294 h 3835942"/>
                <a:gd name="connsiteX34" fmla="*/ 1421411 w 4510936"/>
                <a:gd name="connsiteY34" fmla="*/ 266491 h 3835942"/>
                <a:gd name="connsiteX35" fmla="*/ 1478933 w 4510936"/>
                <a:gd name="connsiteY35" fmla="*/ 196773 h 3835942"/>
                <a:gd name="connsiteX36" fmla="*/ 1953986 w 4510936"/>
                <a:gd name="connsiteY3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81642 w 4510936"/>
                <a:gd name="connsiteY17" fmla="*/ 3835942 h 3835942"/>
                <a:gd name="connsiteX18" fmla="*/ 1113971 w 4510936"/>
                <a:gd name="connsiteY18" fmla="*/ 3835942 h 3835942"/>
                <a:gd name="connsiteX19" fmla="*/ 836413 w 4510936"/>
                <a:gd name="connsiteY19" fmla="*/ 3086585 h 3835942"/>
                <a:gd name="connsiteX20" fmla="*/ 116170 w 4510936"/>
                <a:gd name="connsiteY20" fmla="*/ 2308285 h 3835942"/>
                <a:gd name="connsiteX21" fmla="*/ 118297 w 4510936"/>
                <a:gd name="connsiteY21" fmla="*/ 2287181 h 3835942"/>
                <a:gd name="connsiteX22" fmla="*/ 98842 w 4510936"/>
                <a:gd name="connsiteY22" fmla="*/ 2263602 h 3835942"/>
                <a:gd name="connsiteX23" fmla="*/ 0 w 4510936"/>
                <a:gd name="connsiteY23" fmla="*/ 1940013 h 3835942"/>
                <a:gd name="connsiteX24" fmla="*/ 98842 w 4510936"/>
                <a:gd name="connsiteY24" fmla="*/ 1616424 h 3835942"/>
                <a:gd name="connsiteX25" fmla="*/ 158494 w 4510936"/>
                <a:gd name="connsiteY25" fmla="*/ 1544125 h 3835942"/>
                <a:gd name="connsiteX26" fmla="*/ 138294 w 4510936"/>
                <a:gd name="connsiteY26" fmla="*/ 1479051 h 3835942"/>
                <a:gd name="connsiteX27" fmla="*/ 124645 w 4510936"/>
                <a:gd name="connsiteY27" fmla="*/ 1343654 h 3835942"/>
                <a:gd name="connsiteX28" fmla="*/ 534966 w 4510936"/>
                <a:gd name="connsiteY28" fmla="*/ 724623 h 3835942"/>
                <a:gd name="connsiteX29" fmla="*/ 655270 w 4510936"/>
                <a:gd name="connsiteY29" fmla="*/ 687278 h 3835942"/>
                <a:gd name="connsiteX30" fmla="*/ 663127 w 4510936"/>
                <a:gd name="connsiteY30" fmla="*/ 661967 h 3835942"/>
                <a:gd name="connsiteX31" fmla="*/ 1282159 w 4510936"/>
                <a:gd name="connsiteY31" fmla="*/ 251645 h 3835942"/>
                <a:gd name="connsiteX32" fmla="*/ 1417556 w 4510936"/>
                <a:gd name="connsiteY32" fmla="*/ 265294 h 3835942"/>
                <a:gd name="connsiteX33" fmla="*/ 1421411 w 4510936"/>
                <a:gd name="connsiteY33" fmla="*/ 266491 h 3835942"/>
                <a:gd name="connsiteX34" fmla="*/ 1478933 w 4510936"/>
                <a:gd name="connsiteY34" fmla="*/ 196773 h 3835942"/>
                <a:gd name="connsiteX35" fmla="*/ 1953986 w 4510936"/>
                <a:gd name="connsiteY35" fmla="*/ 0 h 3835942"/>
                <a:gd name="connsiteX0" fmla="*/ 1581642 w 4510936"/>
                <a:gd name="connsiteY0" fmla="*/ 3835942 h 4045762"/>
                <a:gd name="connsiteX1" fmla="*/ 1113971 w 4510936"/>
                <a:gd name="connsiteY1" fmla="*/ 3835942 h 4045762"/>
                <a:gd name="connsiteX2" fmla="*/ 836413 w 4510936"/>
                <a:gd name="connsiteY2" fmla="*/ 3086585 h 4045762"/>
                <a:gd name="connsiteX3" fmla="*/ 116170 w 4510936"/>
                <a:gd name="connsiteY3" fmla="*/ 2308285 h 4045762"/>
                <a:gd name="connsiteX4" fmla="*/ 118297 w 4510936"/>
                <a:gd name="connsiteY4" fmla="*/ 2287181 h 4045762"/>
                <a:gd name="connsiteX5" fmla="*/ 98842 w 4510936"/>
                <a:gd name="connsiteY5" fmla="*/ 2263602 h 4045762"/>
                <a:gd name="connsiteX6" fmla="*/ 0 w 4510936"/>
                <a:gd name="connsiteY6" fmla="*/ 1940013 h 4045762"/>
                <a:gd name="connsiteX7" fmla="*/ 98842 w 4510936"/>
                <a:gd name="connsiteY7" fmla="*/ 1616424 h 4045762"/>
                <a:gd name="connsiteX8" fmla="*/ 158494 w 4510936"/>
                <a:gd name="connsiteY8" fmla="*/ 1544125 h 4045762"/>
                <a:gd name="connsiteX9" fmla="*/ 138294 w 4510936"/>
                <a:gd name="connsiteY9" fmla="*/ 1479051 h 4045762"/>
                <a:gd name="connsiteX10" fmla="*/ 124645 w 4510936"/>
                <a:gd name="connsiteY10" fmla="*/ 1343654 h 4045762"/>
                <a:gd name="connsiteX11" fmla="*/ 534966 w 4510936"/>
                <a:gd name="connsiteY11" fmla="*/ 724623 h 4045762"/>
                <a:gd name="connsiteX12" fmla="*/ 655270 w 4510936"/>
                <a:gd name="connsiteY12" fmla="*/ 687278 h 4045762"/>
                <a:gd name="connsiteX13" fmla="*/ 663127 w 4510936"/>
                <a:gd name="connsiteY13" fmla="*/ 661967 h 4045762"/>
                <a:gd name="connsiteX14" fmla="*/ 1282159 w 4510936"/>
                <a:gd name="connsiteY14" fmla="*/ 251645 h 4045762"/>
                <a:gd name="connsiteX15" fmla="*/ 1417556 w 4510936"/>
                <a:gd name="connsiteY15" fmla="*/ 265294 h 4045762"/>
                <a:gd name="connsiteX16" fmla="*/ 1421411 w 4510936"/>
                <a:gd name="connsiteY16" fmla="*/ 266491 h 4045762"/>
                <a:gd name="connsiteX17" fmla="*/ 1478933 w 4510936"/>
                <a:gd name="connsiteY17" fmla="*/ 196773 h 4045762"/>
                <a:gd name="connsiteX18" fmla="*/ 1953986 w 4510936"/>
                <a:gd name="connsiteY18" fmla="*/ 0 h 4045762"/>
                <a:gd name="connsiteX19" fmla="*/ 2329611 w 4510936"/>
                <a:gd name="connsiteY19" fmla="*/ 114738 h 4045762"/>
                <a:gd name="connsiteX20" fmla="*/ 2418153 w 4510936"/>
                <a:gd name="connsiteY20" fmla="*/ 187791 h 4045762"/>
                <a:gd name="connsiteX21" fmla="*/ 2436328 w 4510936"/>
                <a:gd name="connsiteY21" fmla="*/ 172795 h 4045762"/>
                <a:gd name="connsiteX22" fmla="*/ 2811953 w 4510936"/>
                <a:gd name="connsiteY22" fmla="*/ 58057 h 4045762"/>
                <a:gd name="connsiteX23" fmla="*/ 3430985 w 4510936"/>
                <a:gd name="connsiteY23" fmla="*/ 468379 h 4045762"/>
                <a:gd name="connsiteX24" fmla="*/ 3439052 w 4510936"/>
                <a:gd name="connsiteY24" fmla="*/ 494366 h 4045762"/>
                <a:gd name="connsiteX25" fmla="*/ 3483780 w 4510936"/>
                <a:gd name="connsiteY25" fmla="*/ 489857 h 4045762"/>
                <a:gd name="connsiteX26" fmla="*/ 4155607 w 4510936"/>
                <a:gd name="connsiteY26" fmla="*/ 1161684 h 4045762"/>
                <a:gd name="connsiteX27" fmla="*/ 4153309 w 4510936"/>
                <a:gd name="connsiteY27" fmla="*/ 1184483 h 4045762"/>
                <a:gd name="connsiteX28" fmla="*/ 4214734 w 4510936"/>
                <a:gd name="connsiteY28" fmla="*/ 1217823 h 4045762"/>
                <a:gd name="connsiteX29" fmla="*/ 4510936 w 4510936"/>
                <a:gd name="connsiteY29" fmla="*/ 1774913 h 4045762"/>
                <a:gd name="connsiteX30" fmla="*/ 3839109 w 4510936"/>
                <a:gd name="connsiteY30" fmla="*/ 2446740 h 4045762"/>
                <a:gd name="connsiteX31" fmla="*/ 2763472 w 4510936"/>
                <a:gd name="connsiteY31" fmla="*/ 2548740 h 4045762"/>
                <a:gd name="connsiteX32" fmla="*/ 2130180 w 4510936"/>
                <a:gd name="connsiteY32" fmla="*/ 2990785 h 4045762"/>
                <a:gd name="connsiteX33" fmla="*/ 2009850 w 4510936"/>
                <a:gd name="connsiteY33" fmla="*/ 3835942 h 4045762"/>
                <a:gd name="connsiteX34" fmla="*/ 1789458 w 4510936"/>
                <a:gd name="connsiteY34" fmla="*/ 3835942 h 4045762"/>
                <a:gd name="connsiteX35" fmla="*/ 1791461 w 4510936"/>
                <a:gd name="connsiteY35" fmla="*/ 4045762 h 404576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34" fmla="*/ 1789458 w 4510936"/>
                <a:gd name="connsiteY34" fmla="*/ 3835942 h 383594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10936" h="3835942">
                  <a:moveTo>
                    <a:pt x="1113971" y="3835942"/>
                  </a:moveTo>
                  <a:cubicBezTo>
                    <a:pt x="1117004" y="3353928"/>
                    <a:pt x="1047465" y="3115028"/>
                    <a:pt x="836413" y="3086585"/>
                  </a:cubicBezTo>
                  <a:cubicBezTo>
                    <a:pt x="446170" y="3033993"/>
                    <a:pt x="116170" y="2702056"/>
                    <a:pt x="116170" y="2308285"/>
                  </a:cubicBezTo>
                  <a:lnTo>
                    <a:pt x="118297" y="2287181"/>
                  </a:lnTo>
                  <a:lnTo>
                    <a:pt x="98842" y="2263602"/>
                  </a:lnTo>
                  <a:cubicBezTo>
                    <a:pt x="36438" y="2171232"/>
                    <a:pt x="0" y="2059878"/>
                    <a:pt x="0" y="1940013"/>
                  </a:cubicBezTo>
                  <a:cubicBezTo>
                    <a:pt x="0" y="1820148"/>
                    <a:pt x="36438" y="1708794"/>
                    <a:pt x="98842" y="1616424"/>
                  </a:cubicBezTo>
                  <a:lnTo>
                    <a:pt x="158494" y="1544125"/>
                  </a:lnTo>
                  <a:lnTo>
                    <a:pt x="138294" y="1479051"/>
                  </a:lnTo>
                  <a:cubicBezTo>
                    <a:pt x="129345" y="1435316"/>
                    <a:pt x="124645" y="1390034"/>
                    <a:pt x="124645" y="1343654"/>
                  </a:cubicBezTo>
                  <a:cubicBezTo>
                    <a:pt x="124645" y="1065374"/>
                    <a:pt x="293838" y="826611"/>
                    <a:pt x="534966" y="724623"/>
                  </a:cubicBezTo>
                  <a:lnTo>
                    <a:pt x="655270" y="687278"/>
                  </a:lnTo>
                  <a:lnTo>
                    <a:pt x="663127" y="661967"/>
                  </a:lnTo>
                  <a:cubicBezTo>
                    <a:pt x="765116" y="420838"/>
                    <a:pt x="1003879" y="251645"/>
                    <a:pt x="1282159" y="251645"/>
                  </a:cubicBezTo>
                  <a:cubicBezTo>
                    <a:pt x="1328539" y="251645"/>
                    <a:pt x="1373822" y="256345"/>
                    <a:pt x="1417556" y="265294"/>
                  </a:cubicBezTo>
                  <a:lnTo>
                    <a:pt x="1421411" y="266491"/>
                  </a:lnTo>
                  <a:lnTo>
                    <a:pt x="1478933" y="196773"/>
                  </a:lnTo>
                  <a:cubicBezTo>
                    <a:pt x="1600510" y="75197"/>
                    <a:pt x="1768466" y="0"/>
                    <a:pt x="1953986" y="0"/>
                  </a:cubicBezTo>
                  <a:cubicBezTo>
                    <a:pt x="2093126" y="0"/>
                    <a:pt x="2222387" y="42298"/>
                    <a:pt x="2329611" y="114738"/>
                  </a:cubicBezTo>
                  <a:lnTo>
                    <a:pt x="2418153" y="187791"/>
                  </a:lnTo>
                  <a:lnTo>
                    <a:pt x="2436328" y="172795"/>
                  </a:lnTo>
                  <a:cubicBezTo>
                    <a:pt x="2543553" y="100355"/>
                    <a:pt x="2672813" y="58057"/>
                    <a:pt x="2811953" y="58057"/>
                  </a:cubicBezTo>
                  <a:cubicBezTo>
                    <a:pt x="3090233" y="58057"/>
                    <a:pt x="3328996" y="227250"/>
                    <a:pt x="3430985" y="468379"/>
                  </a:cubicBezTo>
                  <a:lnTo>
                    <a:pt x="3439052" y="494366"/>
                  </a:lnTo>
                  <a:lnTo>
                    <a:pt x="3483780" y="489857"/>
                  </a:lnTo>
                  <a:cubicBezTo>
                    <a:pt x="3854820" y="489857"/>
                    <a:pt x="4155607" y="790644"/>
                    <a:pt x="4155607" y="1161684"/>
                  </a:cubicBezTo>
                  <a:lnTo>
                    <a:pt x="4153309" y="1184483"/>
                  </a:lnTo>
                  <a:lnTo>
                    <a:pt x="4214734" y="1217823"/>
                  </a:lnTo>
                  <a:cubicBezTo>
                    <a:pt x="4393441" y="1338556"/>
                    <a:pt x="4510936" y="1543013"/>
                    <a:pt x="4510936" y="1774913"/>
                  </a:cubicBezTo>
                  <a:cubicBezTo>
                    <a:pt x="4510936" y="2145953"/>
                    <a:pt x="4124085" y="2449471"/>
                    <a:pt x="3839109" y="2446740"/>
                  </a:cubicBezTo>
                  <a:cubicBezTo>
                    <a:pt x="3585495" y="2638428"/>
                    <a:pt x="3061074" y="2617143"/>
                    <a:pt x="2763472" y="2548740"/>
                  </a:cubicBezTo>
                  <a:cubicBezTo>
                    <a:pt x="2701568" y="2771878"/>
                    <a:pt x="2355083" y="3064742"/>
                    <a:pt x="2130180" y="2990785"/>
                  </a:cubicBezTo>
                  <a:cubicBezTo>
                    <a:pt x="2055794" y="3192776"/>
                    <a:pt x="1994823" y="3676349"/>
                    <a:pt x="2009850" y="3835942"/>
                  </a:cubicBezTo>
                </a:path>
              </a:pathLst>
            </a:custGeom>
            <a:noFill/>
            <a:ln w="190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5"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9" name="Group 38">
              <a:extLst>
                <a:ext uri="{FF2B5EF4-FFF2-40B4-BE49-F238E27FC236}">
                  <a16:creationId xmlns:a16="http://schemas.microsoft.com/office/drawing/2014/main" id="{374E97AB-8CE5-42B1-954A-FB64BED730FF}"/>
                </a:ext>
              </a:extLst>
            </p:cNvPr>
            <p:cNvGrpSpPr/>
            <p:nvPr/>
          </p:nvGrpSpPr>
          <p:grpSpPr>
            <a:xfrm>
              <a:off x="3558863" y="3838170"/>
              <a:ext cx="2873016" cy="2905512"/>
              <a:chOff x="3440120" y="3859753"/>
              <a:chExt cx="2873016" cy="2905512"/>
            </a:xfrm>
          </p:grpSpPr>
          <p:sp>
            <p:nvSpPr>
              <p:cNvPr id="41" name="Freeform: Shape 40">
                <a:extLst>
                  <a:ext uri="{FF2B5EF4-FFF2-40B4-BE49-F238E27FC236}">
                    <a16:creationId xmlns:a16="http://schemas.microsoft.com/office/drawing/2014/main" id="{34E2612B-F78C-44DB-8124-514402A903B5}"/>
                  </a:ext>
                </a:extLst>
              </p:cNvPr>
              <p:cNvSpPr/>
              <p:nvPr/>
            </p:nvSpPr>
            <p:spPr bwMode="auto">
              <a:xfrm>
                <a:off x="3729167" y="3859753"/>
                <a:ext cx="1024256" cy="2905512"/>
              </a:xfrm>
              <a:custGeom>
                <a:avLst/>
                <a:gdLst>
                  <a:gd name="connsiteX0" fmla="*/ 343153 w 511882"/>
                  <a:gd name="connsiteY0" fmla="*/ 1460046 h 1460046"/>
                  <a:gd name="connsiteX1" fmla="*/ 334989 w 511882"/>
                  <a:gd name="connsiteY1" fmla="*/ 1013732 h 1460046"/>
                  <a:gd name="connsiteX2" fmla="*/ 253 w 511882"/>
                  <a:gd name="connsiteY2" fmla="*/ 511628 h 1460046"/>
                  <a:gd name="connsiteX3" fmla="*/ 394861 w 511882"/>
                  <a:gd name="connsiteY3" fmla="*/ 198664 h 1460046"/>
                  <a:gd name="connsiteX4" fmla="*/ 511882 w 511882"/>
                  <a:gd name="connsiteY4" fmla="*/ 0 h 1460046"/>
                  <a:gd name="connsiteX0" fmla="*/ 343139 w 511868"/>
                  <a:gd name="connsiteY0" fmla="*/ 1460046 h 1460046"/>
                  <a:gd name="connsiteX1" fmla="*/ 334975 w 511868"/>
                  <a:gd name="connsiteY1" fmla="*/ 1013732 h 1460046"/>
                  <a:gd name="connsiteX2" fmla="*/ 239 w 511868"/>
                  <a:gd name="connsiteY2" fmla="*/ 511628 h 1460046"/>
                  <a:gd name="connsiteX3" fmla="*/ 394847 w 511868"/>
                  <a:gd name="connsiteY3" fmla="*/ 198664 h 1460046"/>
                  <a:gd name="connsiteX4" fmla="*/ 511868 w 511868"/>
                  <a:gd name="connsiteY4" fmla="*/ 0 h 1460046"/>
                  <a:gd name="connsiteX0" fmla="*/ 346813 w 515542"/>
                  <a:gd name="connsiteY0" fmla="*/ 1460046 h 1460046"/>
                  <a:gd name="connsiteX1" fmla="*/ 338649 w 515542"/>
                  <a:gd name="connsiteY1" fmla="*/ 1013732 h 1460046"/>
                  <a:gd name="connsiteX2" fmla="*/ 3913 w 515542"/>
                  <a:gd name="connsiteY2" fmla="*/ 511628 h 1460046"/>
                  <a:gd name="connsiteX3" fmla="*/ 398521 w 515542"/>
                  <a:gd name="connsiteY3" fmla="*/ 198664 h 1460046"/>
                  <a:gd name="connsiteX4" fmla="*/ 515542 w 515542"/>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698" h="1460046">
                    <a:moveTo>
                      <a:pt x="345969" y="1460046"/>
                    </a:moveTo>
                    <a:cubicBezTo>
                      <a:pt x="343247" y="1279185"/>
                      <a:pt x="359576" y="1110571"/>
                      <a:pt x="337805" y="1013732"/>
                    </a:cubicBezTo>
                    <a:cubicBezTo>
                      <a:pt x="301287" y="851299"/>
                      <a:pt x="-35485" y="768576"/>
                      <a:pt x="3069" y="511628"/>
                    </a:cubicBezTo>
                    <a:cubicBezTo>
                      <a:pt x="41623" y="254680"/>
                      <a:pt x="312406" y="245835"/>
                      <a:pt x="397677" y="198664"/>
                    </a:cubicBezTo>
                    <a:cubicBezTo>
                      <a:pt x="482948" y="151493"/>
                      <a:pt x="507712" y="62166"/>
                      <a:pt x="514698"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59" name="Freeform: Shape 58">
                <a:extLst>
                  <a:ext uri="{FF2B5EF4-FFF2-40B4-BE49-F238E27FC236}">
                    <a16:creationId xmlns:a16="http://schemas.microsoft.com/office/drawing/2014/main" id="{B61F3643-FCE5-4A5C-B3C3-4A40288505E5}"/>
                  </a:ext>
                </a:extLst>
              </p:cNvPr>
              <p:cNvSpPr/>
              <p:nvPr/>
            </p:nvSpPr>
            <p:spPr bwMode="auto">
              <a:xfrm>
                <a:off x="4475931" y="4041179"/>
                <a:ext cx="1233358" cy="351610"/>
              </a:xfrm>
              <a:custGeom>
                <a:avLst/>
                <a:gdLst>
                  <a:gd name="connsiteX0" fmla="*/ 640896 w 640896"/>
                  <a:gd name="connsiteY0" fmla="*/ 0 h 180184"/>
                  <a:gd name="connsiteX1" fmla="*/ 336096 w 640896"/>
                  <a:gd name="connsiteY1" fmla="*/ 176892 h 180184"/>
                  <a:gd name="connsiteX2" fmla="*/ 0 w 640896"/>
                  <a:gd name="connsiteY2" fmla="*/ 122464 h 180184"/>
                  <a:gd name="connsiteX0" fmla="*/ 640896 w 640896"/>
                  <a:gd name="connsiteY0" fmla="*/ 0 h 181666"/>
                  <a:gd name="connsiteX1" fmla="*/ 336096 w 640896"/>
                  <a:gd name="connsiteY1" fmla="*/ 176892 h 181666"/>
                  <a:gd name="connsiteX2" fmla="*/ 0 w 640896"/>
                  <a:gd name="connsiteY2" fmla="*/ 122464 h 181666"/>
                  <a:gd name="connsiteX0" fmla="*/ 640896 w 640896"/>
                  <a:gd name="connsiteY0" fmla="*/ 0 h 122464"/>
                  <a:gd name="connsiteX1" fmla="*/ 0 w 640896"/>
                  <a:gd name="connsiteY1" fmla="*/ 122464 h 122464"/>
                  <a:gd name="connsiteX0" fmla="*/ 640896 w 640896"/>
                  <a:gd name="connsiteY0" fmla="*/ 0 h 150251"/>
                  <a:gd name="connsiteX1" fmla="*/ 0 w 640896"/>
                  <a:gd name="connsiteY1" fmla="*/ 122464 h 150251"/>
                  <a:gd name="connsiteX0" fmla="*/ 640896 w 640896"/>
                  <a:gd name="connsiteY0" fmla="*/ 0 h 179415"/>
                  <a:gd name="connsiteX1" fmla="*/ 0 w 640896"/>
                  <a:gd name="connsiteY1" fmla="*/ 122464 h 179415"/>
                  <a:gd name="connsiteX0" fmla="*/ 625928 w 625928"/>
                  <a:gd name="connsiteY0" fmla="*/ 0 h 176687"/>
                  <a:gd name="connsiteX1" fmla="*/ 0 w 625928"/>
                  <a:gd name="connsiteY1" fmla="*/ 118381 h 176687"/>
                  <a:gd name="connsiteX0" fmla="*/ 619774 w 619774"/>
                  <a:gd name="connsiteY0" fmla="*/ 0 h 176687"/>
                  <a:gd name="connsiteX1" fmla="*/ 0 w 619774"/>
                  <a:gd name="connsiteY1" fmla="*/ 118381 h 176687"/>
                </a:gdLst>
                <a:ahLst/>
                <a:cxnLst>
                  <a:cxn ang="0">
                    <a:pos x="connsiteX0" y="connsiteY0"/>
                  </a:cxn>
                  <a:cxn ang="0">
                    <a:pos x="connsiteX1" y="connsiteY1"/>
                  </a:cxn>
                </a:cxnLst>
                <a:rect l="l" t="t" r="r" b="b"/>
                <a:pathLst>
                  <a:path w="619774" h="176687">
                    <a:moveTo>
                      <a:pt x="619774" y="0"/>
                    </a:moveTo>
                    <a:cubicBezTo>
                      <a:pt x="554460" y="204107"/>
                      <a:pt x="205468" y="213631"/>
                      <a:pt x="0" y="118381"/>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0" name="Freeform: Shape 59">
                <a:extLst>
                  <a:ext uri="{FF2B5EF4-FFF2-40B4-BE49-F238E27FC236}">
                    <a16:creationId xmlns:a16="http://schemas.microsoft.com/office/drawing/2014/main" id="{2074C738-0D0C-4D7A-88A3-99BBF717620F}"/>
                  </a:ext>
                </a:extLst>
              </p:cNvPr>
              <p:cNvSpPr/>
              <p:nvPr/>
            </p:nvSpPr>
            <p:spPr bwMode="auto">
              <a:xfrm>
                <a:off x="3903160" y="4041179"/>
                <a:ext cx="285801" cy="322233"/>
              </a:xfrm>
              <a:custGeom>
                <a:avLst/>
                <a:gdLst>
                  <a:gd name="connsiteX0" fmla="*/ 0 w 136071"/>
                  <a:gd name="connsiteY0" fmla="*/ 0 h 171450"/>
                  <a:gd name="connsiteX1" fmla="*/ 108857 w 136071"/>
                  <a:gd name="connsiteY1" fmla="*/ 76200 h 171450"/>
                  <a:gd name="connsiteX2" fmla="*/ 136071 w 136071"/>
                  <a:gd name="connsiteY2"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Lst>
                <a:ahLst/>
                <a:cxnLst>
                  <a:cxn ang="0">
                    <a:pos x="connsiteX0" y="connsiteY0"/>
                  </a:cxn>
                  <a:cxn ang="0">
                    <a:pos x="connsiteX1" y="connsiteY1"/>
                  </a:cxn>
                </a:cxnLst>
                <a:rect l="l" t="t" r="r" b="b"/>
                <a:pathLst>
                  <a:path w="136071" h="171450">
                    <a:moveTo>
                      <a:pt x="0" y="0"/>
                    </a:moveTo>
                    <a:cubicBezTo>
                      <a:pt x="90058" y="31810"/>
                      <a:pt x="113388" y="112852"/>
                      <a:pt x="136071" y="17145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1" name="Freeform: Shape 60">
                <a:extLst>
                  <a:ext uri="{FF2B5EF4-FFF2-40B4-BE49-F238E27FC236}">
                    <a16:creationId xmlns:a16="http://schemas.microsoft.com/office/drawing/2014/main" id="{1C45D4F0-E26F-4AB1-B273-DDFB3973377B}"/>
                  </a:ext>
                </a:extLst>
              </p:cNvPr>
              <p:cNvSpPr/>
              <p:nvPr/>
            </p:nvSpPr>
            <p:spPr bwMode="auto">
              <a:xfrm>
                <a:off x="3440120" y="4482556"/>
                <a:ext cx="289738" cy="446794"/>
              </a:xfrm>
              <a:custGeom>
                <a:avLst/>
                <a:gdLst>
                  <a:gd name="connsiteX0" fmla="*/ 0 w 145596"/>
                  <a:gd name="connsiteY0" fmla="*/ 0 h 230238"/>
                  <a:gd name="connsiteX1" fmla="*/ 85725 w 145596"/>
                  <a:gd name="connsiteY1" fmla="*/ 201386 h 230238"/>
                  <a:gd name="connsiteX2" fmla="*/ 145596 w 145596"/>
                  <a:gd name="connsiteY2" fmla="*/ 224518 h 23023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Lst>
                <a:ahLst/>
                <a:cxnLst>
                  <a:cxn ang="0">
                    <a:pos x="connsiteX0" y="connsiteY0"/>
                  </a:cxn>
                  <a:cxn ang="0">
                    <a:pos x="connsiteX1" y="connsiteY1"/>
                  </a:cxn>
                </a:cxnLst>
                <a:rect l="l" t="t" r="r" b="b"/>
                <a:pathLst>
                  <a:path w="145596" h="224518">
                    <a:moveTo>
                      <a:pt x="0" y="0"/>
                    </a:moveTo>
                    <a:cubicBezTo>
                      <a:pt x="12976" y="98771"/>
                      <a:pt x="56722" y="206432"/>
                      <a:pt x="145596" y="224518"/>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2" name="Freeform: Shape 61">
                <a:extLst>
                  <a:ext uri="{FF2B5EF4-FFF2-40B4-BE49-F238E27FC236}">
                    <a16:creationId xmlns:a16="http://schemas.microsoft.com/office/drawing/2014/main" id="{1EA3111D-823E-4A2E-A1E3-8A398BD7BEB6}"/>
                  </a:ext>
                </a:extLst>
              </p:cNvPr>
              <p:cNvSpPr/>
              <p:nvPr/>
            </p:nvSpPr>
            <p:spPr bwMode="auto">
              <a:xfrm>
                <a:off x="3770503" y="5061350"/>
                <a:ext cx="452182" cy="87336"/>
              </a:xfrm>
              <a:custGeom>
                <a:avLst/>
                <a:gdLst>
                  <a:gd name="connsiteX0" fmla="*/ 0 w 229961"/>
                  <a:gd name="connsiteY0" fmla="*/ 46002 h 46002"/>
                  <a:gd name="connsiteX1" fmla="*/ 111579 w 229961"/>
                  <a:gd name="connsiteY1" fmla="*/ 2459 h 46002"/>
                  <a:gd name="connsiteX2" fmla="*/ 229961 w 229961"/>
                  <a:gd name="connsiteY2" fmla="*/ 9262 h 46002"/>
                  <a:gd name="connsiteX0" fmla="*/ 0 w 227226"/>
                  <a:gd name="connsiteY0" fmla="*/ 46002 h 46002"/>
                  <a:gd name="connsiteX1" fmla="*/ 108844 w 227226"/>
                  <a:gd name="connsiteY1" fmla="*/ 2459 h 46002"/>
                  <a:gd name="connsiteX2" fmla="*/ 227226 w 227226"/>
                  <a:gd name="connsiteY2" fmla="*/ 9262 h 46002"/>
                  <a:gd name="connsiteX0" fmla="*/ 0 w 227226"/>
                  <a:gd name="connsiteY0" fmla="*/ 36740 h 36740"/>
                  <a:gd name="connsiteX1" fmla="*/ 227226 w 227226"/>
                  <a:gd name="connsiteY1" fmla="*/ 0 h 36740"/>
                  <a:gd name="connsiteX0" fmla="*/ 0 w 227226"/>
                  <a:gd name="connsiteY0" fmla="*/ 36740 h 36740"/>
                  <a:gd name="connsiteX1" fmla="*/ 227226 w 227226"/>
                  <a:gd name="connsiteY1" fmla="*/ 0 h 36740"/>
                  <a:gd name="connsiteX0" fmla="*/ 0 w 227226"/>
                  <a:gd name="connsiteY0" fmla="*/ 43887 h 43887"/>
                  <a:gd name="connsiteX1" fmla="*/ 227226 w 227226"/>
                  <a:gd name="connsiteY1" fmla="*/ 7147 h 43887"/>
                </a:gdLst>
                <a:ahLst/>
                <a:cxnLst>
                  <a:cxn ang="0">
                    <a:pos x="connsiteX0" y="connsiteY0"/>
                  </a:cxn>
                  <a:cxn ang="0">
                    <a:pos x="connsiteX1" y="connsiteY1"/>
                  </a:cxn>
                </a:cxnLst>
                <a:rect l="l" t="t" r="r" b="b"/>
                <a:pathLst>
                  <a:path w="227226" h="43887">
                    <a:moveTo>
                      <a:pt x="0" y="43887"/>
                    </a:moveTo>
                    <a:cubicBezTo>
                      <a:pt x="82580" y="4289"/>
                      <a:pt x="148065" y="-10008"/>
                      <a:pt x="227226" y="7147"/>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3" name="Freeform: Shape 62">
                <a:extLst>
                  <a:ext uri="{FF2B5EF4-FFF2-40B4-BE49-F238E27FC236}">
                    <a16:creationId xmlns:a16="http://schemas.microsoft.com/office/drawing/2014/main" id="{A34EDDBF-D750-4406-82C8-51B572E303EE}"/>
                  </a:ext>
                </a:extLst>
              </p:cNvPr>
              <p:cNvSpPr/>
              <p:nvPr/>
            </p:nvSpPr>
            <p:spPr bwMode="auto">
              <a:xfrm>
                <a:off x="3587852" y="5344832"/>
                <a:ext cx="315308" cy="304679"/>
              </a:xfrm>
              <a:custGeom>
                <a:avLst/>
                <a:gdLst>
                  <a:gd name="connsiteX0" fmla="*/ 0 w 171450"/>
                  <a:gd name="connsiteY0" fmla="*/ 163285 h 163285"/>
                  <a:gd name="connsiteX1" fmla="*/ 137432 w 171450"/>
                  <a:gd name="connsiteY1" fmla="*/ 59871 h 163285"/>
                  <a:gd name="connsiteX2" fmla="*/ 171450 w 171450"/>
                  <a:gd name="connsiteY2" fmla="*/ 0 h 163285"/>
                  <a:gd name="connsiteX0" fmla="*/ 0 w 155969"/>
                  <a:gd name="connsiteY0" fmla="*/ 151135 h 151135"/>
                  <a:gd name="connsiteX1" fmla="*/ 121951 w 155969"/>
                  <a:gd name="connsiteY1" fmla="*/ 59871 h 151135"/>
                  <a:gd name="connsiteX2" fmla="*/ 155969 w 155969"/>
                  <a:gd name="connsiteY2"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Lst>
                <a:ahLst/>
                <a:cxnLst>
                  <a:cxn ang="0">
                    <a:pos x="connsiteX0" y="connsiteY0"/>
                  </a:cxn>
                  <a:cxn ang="0">
                    <a:pos x="connsiteX1" y="connsiteY1"/>
                  </a:cxn>
                </a:cxnLst>
                <a:rect l="l" t="t" r="r" b="b"/>
                <a:pathLst>
                  <a:path w="155969" h="151135">
                    <a:moveTo>
                      <a:pt x="0" y="151135"/>
                    </a:moveTo>
                    <a:cubicBezTo>
                      <a:pt x="67471" y="118307"/>
                      <a:pt x="120134" y="58477"/>
                      <a:pt x="155969"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4" name="Freeform: Shape 63">
                <a:extLst>
                  <a:ext uri="{FF2B5EF4-FFF2-40B4-BE49-F238E27FC236}">
                    <a16:creationId xmlns:a16="http://schemas.microsoft.com/office/drawing/2014/main" id="{0828F9CC-1213-4FB5-A936-BBEF657BE3B8}"/>
                  </a:ext>
                </a:extLst>
              </p:cNvPr>
              <p:cNvSpPr/>
              <p:nvPr/>
            </p:nvSpPr>
            <p:spPr bwMode="auto">
              <a:xfrm>
                <a:off x="4642401" y="4363411"/>
                <a:ext cx="179213" cy="831307"/>
              </a:xfrm>
              <a:custGeom>
                <a:avLst/>
                <a:gdLst>
                  <a:gd name="connsiteX0" fmla="*/ 0 w 100249"/>
                  <a:gd name="connsiteY0" fmla="*/ 421822 h 421822"/>
                  <a:gd name="connsiteX1" fmla="*/ 99332 w 100249"/>
                  <a:gd name="connsiteY1" fmla="*/ 201386 h 421822"/>
                  <a:gd name="connsiteX2" fmla="*/ 48985 w 100249"/>
                  <a:gd name="connsiteY2" fmla="*/ 0 h 421822"/>
                  <a:gd name="connsiteX0" fmla="*/ 0 w 48985"/>
                  <a:gd name="connsiteY0" fmla="*/ 421822 h 421822"/>
                  <a:gd name="connsiteX1" fmla="*/ 48985 w 48985"/>
                  <a:gd name="connsiteY1" fmla="*/ 0 h 421822"/>
                  <a:gd name="connsiteX0" fmla="*/ 0 w 52272"/>
                  <a:gd name="connsiteY0" fmla="*/ 421822 h 421822"/>
                  <a:gd name="connsiteX1" fmla="*/ 48985 w 52272"/>
                  <a:gd name="connsiteY1" fmla="*/ 0 h 421822"/>
                  <a:gd name="connsiteX0" fmla="*/ 0 w 89757"/>
                  <a:gd name="connsiteY0" fmla="*/ 421822 h 421822"/>
                  <a:gd name="connsiteX1" fmla="*/ 48985 w 89757"/>
                  <a:gd name="connsiteY1" fmla="*/ 0 h 421822"/>
                  <a:gd name="connsiteX0" fmla="*/ 0 w 90056"/>
                  <a:gd name="connsiteY0" fmla="*/ 421822 h 421822"/>
                  <a:gd name="connsiteX1" fmla="*/ 48985 w 90056"/>
                  <a:gd name="connsiteY1" fmla="*/ 0 h 421822"/>
                </a:gdLst>
                <a:ahLst/>
                <a:cxnLst>
                  <a:cxn ang="0">
                    <a:pos x="connsiteX0" y="connsiteY0"/>
                  </a:cxn>
                  <a:cxn ang="0">
                    <a:pos x="connsiteX1" y="connsiteY1"/>
                  </a:cxn>
                </a:cxnLst>
                <a:rect l="l" t="t" r="r" b="b"/>
                <a:pathLst>
                  <a:path w="90056" h="421822">
                    <a:moveTo>
                      <a:pt x="0" y="421822"/>
                    </a:moveTo>
                    <a:cubicBezTo>
                      <a:pt x="90175" y="294333"/>
                      <a:pt x="123598" y="206200"/>
                      <a:pt x="48985"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5" name="Freeform: Shape 64">
                <a:extLst>
                  <a:ext uri="{FF2B5EF4-FFF2-40B4-BE49-F238E27FC236}">
                    <a16:creationId xmlns:a16="http://schemas.microsoft.com/office/drawing/2014/main" id="{7A185C61-2B35-4C6E-A2CB-473C603ACE77}"/>
                  </a:ext>
                </a:extLst>
              </p:cNvPr>
              <p:cNvSpPr/>
              <p:nvPr/>
            </p:nvSpPr>
            <p:spPr bwMode="auto">
              <a:xfrm>
                <a:off x="4785632" y="4875193"/>
                <a:ext cx="414582" cy="100715"/>
              </a:xfrm>
              <a:custGeom>
                <a:avLst/>
                <a:gdLst>
                  <a:gd name="connsiteX0" fmla="*/ 213632 w 213632"/>
                  <a:gd name="connsiteY0" fmla="*/ 0 h 55831"/>
                  <a:gd name="connsiteX1" fmla="*/ 84364 w 213632"/>
                  <a:gd name="connsiteY1" fmla="*/ 53067 h 55831"/>
                  <a:gd name="connsiteX2" fmla="*/ 0 w 213632"/>
                  <a:gd name="connsiteY2" fmla="*/ 43542 h 55831"/>
                  <a:gd name="connsiteX0" fmla="*/ 213632 w 213632"/>
                  <a:gd name="connsiteY0" fmla="*/ 0 h 43542"/>
                  <a:gd name="connsiteX1" fmla="*/ 0 w 213632"/>
                  <a:gd name="connsiteY1" fmla="*/ 43542 h 43542"/>
                  <a:gd name="connsiteX0" fmla="*/ 213632 w 213632"/>
                  <a:gd name="connsiteY0" fmla="*/ 0 h 48873"/>
                  <a:gd name="connsiteX1" fmla="*/ 0 w 213632"/>
                  <a:gd name="connsiteY1" fmla="*/ 43542 h 48873"/>
                  <a:gd name="connsiteX0" fmla="*/ 213632 w 213632"/>
                  <a:gd name="connsiteY0" fmla="*/ 0 h 51702"/>
                  <a:gd name="connsiteX1" fmla="*/ 0 w 213632"/>
                  <a:gd name="connsiteY1" fmla="*/ 43542 h 51702"/>
                  <a:gd name="connsiteX0" fmla="*/ 213632 w 213632"/>
                  <a:gd name="connsiteY0" fmla="*/ 0 h 50610"/>
                  <a:gd name="connsiteX1" fmla="*/ 0 w 213632"/>
                  <a:gd name="connsiteY1" fmla="*/ 43542 h 50610"/>
                </a:gdLst>
                <a:ahLst/>
                <a:cxnLst>
                  <a:cxn ang="0">
                    <a:pos x="connsiteX0" y="connsiteY0"/>
                  </a:cxn>
                  <a:cxn ang="0">
                    <a:pos x="connsiteX1" y="connsiteY1"/>
                  </a:cxn>
                </a:cxnLst>
                <a:rect l="l" t="t" r="r" b="b"/>
                <a:pathLst>
                  <a:path w="213632" h="50610">
                    <a:moveTo>
                      <a:pt x="213632" y="0"/>
                    </a:moveTo>
                    <a:cubicBezTo>
                      <a:pt x="168195" y="32976"/>
                      <a:pt x="91725" y="65268"/>
                      <a:pt x="0" y="43542"/>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7" name="Freeform: Shape 66">
                <a:extLst>
                  <a:ext uri="{FF2B5EF4-FFF2-40B4-BE49-F238E27FC236}">
                    <a16:creationId xmlns:a16="http://schemas.microsoft.com/office/drawing/2014/main" id="{31E0AACF-D21A-4DE4-824B-F539AD4E1987}"/>
                  </a:ext>
                </a:extLst>
              </p:cNvPr>
              <p:cNvSpPr/>
              <p:nvPr/>
            </p:nvSpPr>
            <p:spPr bwMode="auto">
              <a:xfrm>
                <a:off x="5311236" y="4363412"/>
                <a:ext cx="1001900" cy="308046"/>
              </a:xfrm>
              <a:custGeom>
                <a:avLst/>
                <a:gdLst>
                  <a:gd name="connsiteX0" fmla="*/ 503464 w 503464"/>
                  <a:gd name="connsiteY0" fmla="*/ 106135 h 154882"/>
                  <a:gd name="connsiteX1" fmla="*/ 216354 w 503464"/>
                  <a:gd name="connsiteY1" fmla="*/ 149678 h 154882"/>
                  <a:gd name="connsiteX2" fmla="*/ 0 w 503464"/>
                  <a:gd name="connsiteY2" fmla="*/ 0 h 154882"/>
                  <a:gd name="connsiteX0" fmla="*/ 503464 w 503464"/>
                  <a:gd name="connsiteY0" fmla="*/ 106135 h 106135"/>
                  <a:gd name="connsiteX1" fmla="*/ 0 w 503464"/>
                  <a:gd name="connsiteY1" fmla="*/ 0 h 106135"/>
                  <a:gd name="connsiteX0" fmla="*/ 503464 w 503464"/>
                  <a:gd name="connsiteY0" fmla="*/ 106135 h 106135"/>
                  <a:gd name="connsiteX1" fmla="*/ 0 w 503464"/>
                  <a:gd name="connsiteY1" fmla="*/ 0 h 106135"/>
                  <a:gd name="connsiteX0" fmla="*/ 503464 w 503464"/>
                  <a:gd name="connsiteY0" fmla="*/ 106135 h 154796"/>
                  <a:gd name="connsiteX1" fmla="*/ 0 w 503464"/>
                  <a:gd name="connsiteY1" fmla="*/ 0 h 154796"/>
                </a:gdLst>
                <a:ahLst/>
                <a:cxnLst>
                  <a:cxn ang="0">
                    <a:pos x="connsiteX0" y="connsiteY0"/>
                  </a:cxn>
                  <a:cxn ang="0">
                    <a:pos x="connsiteX1" y="connsiteY1"/>
                  </a:cxn>
                </a:cxnLst>
                <a:rect l="l" t="t" r="r" b="b"/>
                <a:pathLst>
                  <a:path w="503464" h="154796">
                    <a:moveTo>
                      <a:pt x="503464" y="106135"/>
                    </a:moveTo>
                    <a:cubicBezTo>
                      <a:pt x="387609" y="195203"/>
                      <a:pt x="72093" y="163243"/>
                      <a:pt x="0"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8" name="Freeform: Shape 67">
                <a:extLst>
                  <a:ext uri="{FF2B5EF4-FFF2-40B4-BE49-F238E27FC236}">
                    <a16:creationId xmlns:a16="http://schemas.microsoft.com/office/drawing/2014/main" id="{D63DD180-FF3A-4874-B3EA-E882A372F81A}"/>
                  </a:ext>
                </a:extLst>
              </p:cNvPr>
              <p:cNvSpPr/>
              <p:nvPr/>
            </p:nvSpPr>
            <p:spPr bwMode="auto">
              <a:xfrm>
                <a:off x="5863318" y="4671458"/>
                <a:ext cx="349629" cy="604494"/>
              </a:xfrm>
              <a:custGeom>
                <a:avLst/>
                <a:gdLst>
                  <a:gd name="connsiteX0" fmla="*/ 187779 w 187779"/>
                  <a:gd name="connsiteY0" fmla="*/ 318407 h 318407"/>
                  <a:gd name="connsiteX1" fmla="*/ 99333 w 187779"/>
                  <a:gd name="connsiteY1" fmla="*/ 110218 h 318407"/>
                  <a:gd name="connsiteX2" fmla="*/ 0 w 187779"/>
                  <a:gd name="connsiteY2"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Lst>
                <a:ahLst/>
                <a:cxnLst>
                  <a:cxn ang="0">
                    <a:pos x="connsiteX0" y="connsiteY0"/>
                  </a:cxn>
                  <a:cxn ang="0">
                    <a:pos x="connsiteX1" y="connsiteY1"/>
                  </a:cxn>
                </a:cxnLst>
                <a:rect l="l" t="t" r="r" b="b"/>
                <a:pathLst>
                  <a:path w="187779" h="318407">
                    <a:moveTo>
                      <a:pt x="187779" y="318407"/>
                    </a:moveTo>
                    <a:cubicBezTo>
                      <a:pt x="179997" y="236640"/>
                      <a:pt x="132751" y="105419"/>
                      <a:pt x="0"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grpSp>
      </p:grpSp>
      <p:grpSp>
        <p:nvGrpSpPr>
          <p:cNvPr id="3" name="Group 2">
            <a:extLst>
              <a:ext uri="{FF2B5EF4-FFF2-40B4-BE49-F238E27FC236}">
                <a16:creationId xmlns:a16="http://schemas.microsoft.com/office/drawing/2014/main" id="{C31F99D7-B189-4394-9BB1-4828DAEE7123}"/>
              </a:ext>
            </a:extLst>
          </p:cNvPr>
          <p:cNvGrpSpPr/>
          <p:nvPr/>
        </p:nvGrpSpPr>
        <p:grpSpPr>
          <a:xfrm>
            <a:off x="9549733" y="1127153"/>
            <a:ext cx="114529" cy="270402"/>
            <a:chOff x="4081774" y="3329291"/>
            <a:chExt cx="208476" cy="695630"/>
          </a:xfrm>
        </p:grpSpPr>
        <p:sp>
          <p:nvSpPr>
            <p:cNvPr id="69" name="Freeform: Shape 234">
              <a:extLst>
                <a:ext uri="{FF2B5EF4-FFF2-40B4-BE49-F238E27FC236}">
                  <a16:creationId xmlns:a16="http://schemas.microsoft.com/office/drawing/2014/main" id="{4F8E639B-C796-4941-B53C-C68E0980B38E}"/>
                </a:ext>
              </a:extLst>
            </p:cNvPr>
            <p:cNvSpPr/>
            <p:nvPr/>
          </p:nvSpPr>
          <p:spPr bwMode="auto">
            <a:xfrm>
              <a:off x="4081774" y="3385143"/>
              <a:ext cx="208476" cy="428318"/>
            </a:xfrm>
            <a:custGeom>
              <a:avLst/>
              <a:gdLst>
                <a:gd name="connsiteX0" fmla="*/ 1610436 w 1744997"/>
                <a:gd name="connsiteY0" fmla="*/ 0 h 3184478"/>
                <a:gd name="connsiteX1" fmla="*/ 90985 w 1744997"/>
                <a:gd name="connsiteY1" fmla="*/ 523165 h 3184478"/>
                <a:gd name="connsiteX2" fmla="*/ 900752 w 1744997"/>
                <a:gd name="connsiteY2" fmla="*/ 1628633 h 3184478"/>
                <a:gd name="connsiteX3" fmla="*/ 1724167 w 1744997"/>
                <a:gd name="connsiteY3" fmla="*/ 2602174 h 3184478"/>
                <a:gd name="connsiteX4" fmla="*/ 0 w 1744997"/>
                <a:gd name="connsiteY4" fmla="*/ 3184478 h 3184478"/>
                <a:gd name="connsiteX0" fmla="*/ 1610436 w 1724272"/>
                <a:gd name="connsiteY0" fmla="*/ 0 h 3184478"/>
                <a:gd name="connsiteX1" fmla="*/ 90985 w 1724272"/>
                <a:gd name="connsiteY1" fmla="*/ 523165 h 3184478"/>
                <a:gd name="connsiteX2" fmla="*/ 1724167 w 1724272"/>
                <a:gd name="connsiteY2" fmla="*/ 2602174 h 3184478"/>
                <a:gd name="connsiteX3" fmla="*/ 0 w 1724272"/>
                <a:gd name="connsiteY3" fmla="*/ 3184478 h 3184478"/>
                <a:gd name="connsiteX0" fmla="*/ 1610436 w 1724272"/>
                <a:gd name="connsiteY0" fmla="*/ 137369 h 3321847"/>
                <a:gd name="connsiteX1" fmla="*/ 90985 w 1724272"/>
                <a:gd name="connsiteY1" fmla="*/ 660534 h 3321847"/>
                <a:gd name="connsiteX2" fmla="*/ 1724167 w 1724272"/>
                <a:gd name="connsiteY2" fmla="*/ 2739543 h 3321847"/>
                <a:gd name="connsiteX3" fmla="*/ 0 w 1724272"/>
                <a:gd name="connsiteY3" fmla="*/ 3321847 h 3321847"/>
                <a:gd name="connsiteX0" fmla="*/ 1610436 w 1724265"/>
                <a:gd name="connsiteY0" fmla="*/ 256061 h 3440539"/>
                <a:gd name="connsiteX1" fmla="*/ 90985 w 1724265"/>
                <a:gd name="connsiteY1" fmla="*/ 779226 h 3440539"/>
                <a:gd name="connsiteX2" fmla="*/ 1724167 w 1724265"/>
                <a:gd name="connsiteY2" fmla="*/ 2858235 h 3440539"/>
                <a:gd name="connsiteX3" fmla="*/ 0 w 1724265"/>
                <a:gd name="connsiteY3" fmla="*/ 3440539 h 3440539"/>
                <a:gd name="connsiteX0" fmla="*/ 1610436 w 1741923"/>
                <a:gd name="connsiteY0" fmla="*/ 256061 h 3440539"/>
                <a:gd name="connsiteX1" fmla="*/ 90985 w 1741923"/>
                <a:gd name="connsiteY1" fmla="*/ 779226 h 3440539"/>
                <a:gd name="connsiteX2" fmla="*/ 1724167 w 1741923"/>
                <a:gd name="connsiteY2" fmla="*/ 2858235 h 3440539"/>
                <a:gd name="connsiteX3" fmla="*/ 0 w 1741923"/>
                <a:gd name="connsiteY3" fmla="*/ 3440539 h 3440539"/>
                <a:gd name="connsiteX0" fmla="*/ 1610436 w 1724327"/>
                <a:gd name="connsiteY0" fmla="*/ 256061 h 3440539"/>
                <a:gd name="connsiteX1" fmla="*/ 90985 w 1724327"/>
                <a:gd name="connsiteY1" fmla="*/ 779226 h 3440539"/>
                <a:gd name="connsiteX2" fmla="*/ 1724167 w 1724327"/>
                <a:gd name="connsiteY2" fmla="*/ 2858235 h 3440539"/>
                <a:gd name="connsiteX3" fmla="*/ 0 w 1724327"/>
                <a:gd name="connsiteY3" fmla="*/ 3440539 h 3440539"/>
                <a:gd name="connsiteX0" fmla="*/ 1610436 w 1725288"/>
                <a:gd name="connsiteY0" fmla="*/ 256061 h 3482768"/>
                <a:gd name="connsiteX1" fmla="*/ 90985 w 1725288"/>
                <a:gd name="connsiteY1" fmla="*/ 779226 h 3482768"/>
                <a:gd name="connsiteX2" fmla="*/ 1724167 w 1725288"/>
                <a:gd name="connsiteY2" fmla="*/ 2858235 h 3482768"/>
                <a:gd name="connsiteX3" fmla="*/ 0 w 1725288"/>
                <a:gd name="connsiteY3" fmla="*/ 3440539 h 3482768"/>
                <a:gd name="connsiteX0" fmla="*/ 1610436 w 1725288"/>
                <a:gd name="connsiteY0" fmla="*/ 256061 h 3630751"/>
                <a:gd name="connsiteX1" fmla="*/ 90985 w 1725288"/>
                <a:gd name="connsiteY1" fmla="*/ 779226 h 3630751"/>
                <a:gd name="connsiteX2" fmla="*/ 1724167 w 1725288"/>
                <a:gd name="connsiteY2" fmla="*/ 2858235 h 3630751"/>
                <a:gd name="connsiteX3" fmla="*/ 0 w 1725288"/>
                <a:gd name="connsiteY3" fmla="*/ 3440539 h 3630751"/>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14"/>
                <a:gd name="connsiteY0" fmla="*/ 194772 h 3569462"/>
                <a:gd name="connsiteX1" fmla="*/ 90985 w 1725214"/>
                <a:gd name="connsiteY1" fmla="*/ 717937 h 3569462"/>
                <a:gd name="connsiteX2" fmla="*/ 1724167 w 1725214"/>
                <a:gd name="connsiteY2" fmla="*/ 2796946 h 3569462"/>
                <a:gd name="connsiteX3" fmla="*/ 0 w 1725214"/>
                <a:gd name="connsiteY3" fmla="*/ 3379250 h 3569462"/>
                <a:gd name="connsiteX0" fmla="*/ 1610436 w 1725401"/>
                <a:gd name="connsiteY0" fmla="*/ 194772 h 3569481"/>
                <a:gd name="connsiteX1" fmla="*/ 90985 w 1725401"/>
                <a:gd name="connsiteY1" fmla="*/ 717937 h 3569481"/>
                <a:gd name="connsiteX2" fmla="*/ 1724167 w 1725401"/>
                <a:gd name="connsiteY2" fmla="*/ 2796946 h 3569481"/>
                <a:gd name="connsiteX3" fmla="*/ 0 w 1725401"/>
                <a:gd name="connsiteY3" fmla="*/ 3379250 h 3569481"/>
                <a:gd name="connsiteX0" fmla="*/ 1610436 w 1725387"/>
                <a:gd name="connsiteY0" fmla="*/ 170107 h 3544816"/>
                <a:gd name="connsiteX1" fmla="*/ 90985 w 1725387"/>
                <a:gd name="connsiteY1" fmla="*/ 693272 h 3544816"/>
                <a:gd name="connsiteX2" fmla="*/ 1724167 w 1725387"/>
                <a:gd name="connsiteY2" fmla="*/ 2772281 h 3544816"/>
                <a:gd name="connsiteX3" fmla="*/ 0 w 1725387"/>
                <a:gd name="connsiteY3" fmla="*/ 3354585 h 3544816"/>
              </a:gdLst>
              <a:ahLst/>
              <a:cxnLst>
                <a:cxn ang="0">
                  <a:pos x="connsiteX0" y="connsiteY0"/>
                </a:cxn>
                <a:cxn ang="0">
                  <a:pos x="connsiteX1" y="connsiteY1"/>
                </a:cxn>
                <a:cxn ang="0">
                  <a:pos x="connsiteX2" y="connsiteY2"/>
                </a:cxn>
                <a:cxn ang="0">
                  <a:pos x="connsiteX3" y="connsiteY3"/>
                </a:cxn>
              </a:cxnLst>
              <a:rect l="l" t="t" r="r" b="b"/>
              <a:pathLst>
                <a:path w="1725387" h="3544816">
                  <a:moveTo>
                    <a:pt x="1610436" y="170107"/>
                  </a:moveTo>
                  <a:cubicBezTo>
                    <a:pt x="864359" y="-204447"/>
                    <a:pt x="234321" y="70327"/>
                    <a:pt x="90985" y="693272"/>
                  </a:cubicBezTo>
                  <a:cubicBezTo>
                    <a:pt x="-144789" y="1717958"/>
                    <a:pt x="1780667" y="1815552"/>
                    <a:pt x="1724167" y="2772281"/>
                  </a:cubicBezTo>
                  <a:cubicBezTo>
                    <a:pt x="1662160" y="3822254"/>
                    <a:pt x="291152" y="3566126"/>
                    <a:pt x="0" y="3354585"/>
                  </a:cubicBezTo>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cxnSp>
          <p:nvCxnSpPr>
            <p:cNvPr id="70" name="Straight Connector 69">
              <a:extLst>
                <a:ext uri="{FF2B5EF4-FFF2-40B4-BE49-F238E27FC236}">
                  <a16:creationId xmlns:a16="http://schemas.microsoft.com/office/drawing/2014/main" id="{BF2A3E98-28B2-40B7-969C-89FBA425A45E}"/>
                </a:ext>
              </a:extLst>
            </p:cNvPr>
            <p:cNvCxnSpPr>
              <a:cxnSpLocks/>
            </p:cNvCxnSpPr>
            <p:nvPr/>
          </p:nvCxnSpPr>
          <p:spPr>
            <a:xfrm>
              <a:off x="4186012" y="3329291"/>
              <a:ext cx="0" cy="695630"/>
            </a:xfrm>
            <a:prstGeom prst="line">
              <a:avLst/>
            </a:prstGeom>
            <a:ln w="190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72" name="Rectangle 71">
            <a:extLst>
              <a:ext uri="{FF2B5EF4-FFF2-40B4-BE49-F238E27FC236}">
                <a16:creationId xmlns:a16="http://schemas.microsoft.com/office/drawing/2014/main" id="{9F89A7BC-5B95-442F-9381-09D98A284D84}"/>
              </a:ext>
            </a:extLst>
          </p:cNvPr>
          <p:cNvSpPr/>
          <p:nvPr/>
        </p:nvSpPr>
        <p:spPr>
          <a:xfrm>
            <a:off x="3032889" y="1038642"/>
            <a:ext cx="3157570" cy="362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algn="ctr" defTabSz="914225"/>
            <a:r>
              <a:rPr lang="en-US" sz="1765" kern="0" spc="100" dirty="0">
                <a:solidFill>
                  <a:srgbClr val="FFFFFF"/>
                </a:solidFill>
                <a:latin typeface="Segoe UI Semibold" charset="0"/>
                <a:cs typeface="Segoe UI Semibold" charset="0"/>
              </a:rPr>
              <a:t>Privacy and Trust</a:t>
            </a:r>
          </a:p>
        </p:txBody>
      </p:sp>
      <p:sp>
        <p:nvSpPr>
          <p:cNvPr id="43" name="Text Placeholder 2">
            <a:extLst>
              <a:ext uri="{FF2B5EF4-FFF2-40B4-BE49-F238E27FC236}">
                <a16:creationId xmlns:a16="http://schemas.microsoft.com/office/drawing/2014/main" id="{02865209-0BC8-4085-BDD5-DB2210EA2464}"/>
              </a:ext>
            </a:extLst>
          </p:cNvPr>
          <p:cNvSpPr txBox="1">
            <a:spLocks/>
          </p:cNvSpPr>
          <p:nvPr/>
        </p:nvSpPr>
        <p:spPr>
          <a:xfrm>
            <a:off x="9673318" y="1797790"/>
            <a:ext cx="2689273" cy="2576580"/>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4080"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2448"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4192"/>
            <a:endParaRPr lang="en-US" sz="1961" dirty="0">
              <a:solidFill>
                <a:srgbClr val="FFFFFF"/>
              </a:solidFill>
              <a:latin typeface="Segoe UI Light"/>
            </a:endParaRPr>
          </a:p>
        </p:txBody>
      </p:sp>
      <p:sp>
        <p:nvSpPr>
          <p:cNvPr id="44" name="Text Placeholder 2">
            <a:extLst>
              <a:ext uri="{FF2B5EF4-FFF2-40B4-BE49-F238E27FC236}">
                <a16:creationId xmlns:a16="http://schemas.microsoft.com/office/drawing/2014/main" id="{32141C80-58AB-4C66-A3D7-F4CEF5DF49B0}"/>
              </a:ext>
            </a:extLst>
          </p:cNvPr>
          <p:cNvSpPr txBox="1">
            <a:spLocks/>
          </p:cNvSpPr>
          <p:nvPr/>
        </p:nvSpPr>
        <p:spPr>
          <a:xfrm>
            <a:off x="462628" y="1822124"/>
            <a:ext cx="3080120" cy="4135702"/>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4080"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2448"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4192"/>
            <a:endParaRPr lang="en-US" sz="1568" kern="0" spc="100" dirty="0">
              <a:solidFill>
                <a:srgbClr val="FFFFFF"/>
              </a:solidFill>
              <a:latin typeface="Segoe UI Semibold" charset="0"/>
              <a:cs typeface="Segoe UI Semibold" charset="0"/>
            </a:endParaRPr>
          </a:p>
          <a:p>
            <a:pPr marL="336081" lvl="1" indent="0" defTabSz="914192">
              <a:buNone/>
            </a:pPr>
            <a:endParaRPr lang="en-US" sz="1568" kern="0" spc="100" dirty="0">
              <a:solidFill>
                <a:srgbClr val="FFFFFF"/>
              </a:solidFill>
              <a:latin typeface="Segoe UI Semibold" charset="0"/>
              <a:cs typeface="Segoe UI Semibold" charset="0"/>
            </a:endParaRPr>
          </a:p>
          <a:p>
            <a:pPr marL="572581" lvl="1" indent="-236500" defTabSz="914192"/>
            <a:endParaRPr lang="en-US" sz="1568" dirty="0">
              <a:gradFill>
                <a:gsLst>
                  <a:gs pos="1250">
                    <a:srgbClr val="000000"/>
                  </a:gs>
                  <a:gs pos="100000">
                    <a:srgbClr val="000000"/>
                  </a:gs>
                </a:gsLst>
                <a:lin ang="5400000" scaled="0"/>
              </a:gradFill>
              <a:latin typeface="Segoe UI"/>
            </a:endParaRPr>
          </a:p>
        </p:txBody>
      </p:sp>
      <p:sp>
        <p:nvSpPr>
          <p:cNvPr id="45" name="Text Placeholder 2">
            <a:extLst>
              <a:ext uri="{FF2B5EF4-FFF2-40B4-BE49-F238E27FC236}">
                <a16:creationId xmlns:a16="http://schemas.microsoft.com/office/drawing/2014/main" id="{678EDFDA-ECD2-4C3B-83C3-3BD00F765B8E}"/>
              </a:ext>
            </a:extLst>
          </p:cNvPr>
          <p:cNvSpPr txBox="1">
            <a:spLocks/>
          </p:cNvSpPr>
          <p:nvPr/>
        </p:nvSpPr>
        <p:spPr>
          <a:xfrm>
            <a:off x="3443622" y="1822123"/>
            <a:ext cx="2924604" cy="4174148"/>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4080"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2448"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4192"/>
            <a:endParaRPr lang="en-US" sz="1765" b="1" dirty="0">
              <a:solidFill>
                <a:srgbClr val="FFFFFF"/>
              </a:solidFill>
              <a:latin typeface="Segoe UI Semilight" panose="020B0402040204020203" pitchFamily="34" charset="0"/>
              <a:cs typeface="Segoe UI Semilight" panose="020B0402040204020203" pitchFamily="34" charset="0"/>
            </a:endParaRPr>
          </a:p>
          <a:p>
            <a:pPr marL="336080" indent="-336080" defTabSz="914192"/>
            <a:endParaRPr lang="en-US" sz="1568" kern="0" spc="100" dirty="0">
              <a:solidFill>
                <a:srgbClr val="FFFFFF"/>
              </a:solidFill>
              <a:latin typeface="Segoe UI Semibold" charset="0"/>
              <a:cs typeface="Segoe UI Semibold" charset="0"/>
            </a:endParaRPr>
          </a:p>
          <a:p>
            <a:pPr marL="336080" indent="-336080" defTabSz="914192"/>
            <a:endParaRPr lang="en-US" sz="1765" b="1" dirty="0">
              <a:solidFill>
                <a:srgbClr val="FFFFFF"/>
              </a:solidFill>
              <a:latin typeface="Segoe UI Semilight" panose="020B0402040204020203" pitchFamily="34" charset="0"/>
              <a:cs typeface="Segoe UI Semilight" panose="020B0402040204020203" pitchFamily="34" charset="0"/>
            </a:endParaRPr>
          </a:p>
        </p:txBody>
      </p:sp>
      <p:sp>
        <p:nvSpPr>
          <p:cNvPr id="46" name="Text Placeholder 2">
            <a:extLst>
              <a:ext uri="{FF2B5EF4-FFF2-40B4-BE49-F238E27FC236}">
                <a16:creationId xmlns:a16="http://schemas.microsoft.com/office/drawing/2014/main" id="{0687F84F-7F1F-430C-B7D7-16FBD34407F6}"/>
              </a:ext>
            </a:extLst>
          </p:cNvPr>
          <p:cNvSpPr txBox="1">
            <a:spLocks/>
          </p:cNvSpPr>
          <p:nvPr/>
        </p:nvSpPr>
        <p:spPr>
          <a:xfrm>
            <a:off x="6587527" y="1797791"/>
            <a:ext cx="2935767" cy="4363227"/>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4080"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2448"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4192"/>
            <a:endParaRPr lang="en-US" sz="1765" b="1" dirty="0">
              <a:solidFill>
                <a:srgbClr val="FFFFFF"/>
              </a:solidFill>
              <a:latin typeface="Segoe UI Semilight" panose="020B0402040204020203" pitchFamily="34" charset="0"/>
              <a:cs typeface="Segoe UI Semilight" panose="020B0402040204020203" pitchFamily="34" charset="0"/>
            </a:endParaRPr>
          </a:p>
          <a:p>
            <a:pPr marL="0" indent="0" defTabSz="914192">
              <a:buNone/>
            </a:pPr>
            <a:endParaRPr lang="en-US" sz="2353" dirty="0">
              <a:solidFill>
                <a:srgbClr val="FFFFFF"/>
              </a:solidFill>
              <a:latin typeface="Segoe UI Light"/>
            </a:endParaRPr>
          </a:p>
        </p:txBody>
      </p:sp>
      <p:graphicFrame>
        <p:nvGraphicFramePr>
          <p:cNvPr id="7" name="Table 6">
            <a:extLst>
              <a:ext uri="{FF2B5EF4-FFF2-40B4-BE49-F238E27FC236}">
                <a16:creationId xmlns:a16="http://schemas.microsoft.com/office/drawing/2014/main" id="{ABA4E545-0CB8-483C-9C07-776A7FD6648F}"/>
              </a:ext>
            </a:extLst>
          </p:cNvPr>
          <p:cNvGraphicFramePr>
            <a:graphicFrameLocks noGrp="1"/>
          </p:cNvGraphicFramePr>
          <p:nvPr>
            <p:extLst/>
          </p:nvPr>
        </p:nvGraphicFramePr>
        <p:xfrm>
          <a:off x="170800" y="1803195"/>
          <a:ext cx="2899355" cy="3999030"/>
        </p:xfrm>
        <a:graphic>
          <a:graphicData uri="http://schemas.openxmlformats.org/drawingml/2006/table">
            <a:tbl>
              <a:tblPr firstRow="1" bandRow="1">
                <a:tableStyleId>{5DA37D80-6434-44D0-A028-1B22A696006F}</a:tableStyleId>
              </a:tblPr>
              <a:tblGrid>
                <a:gridCol w="2899355">
                  <a:extLst>
                    <a:ext uri="{9D8B030D-6E8A-4147-A177-3AD203B41FA5}">
                      <a16:colId xmlns:a16="http://schemas.microsoft.com/office/drawing/2014/main" val="3485591923"/>
                    </a:ext>
                  </a:extLst>
                </a:gridCol>
              </a:tblGrid>
              <a:tr h="1069277">
                <a:tc>
                  <a:txBody>
                    <a:bodyPr/>
                    <a:lstStyle/>
                    <a:p>
                      <a:pPr marL="0" indent="0">
                        <a:buNone/>
                      </a:pPr>
                      <a:r>
                        <a:rPr lang="en-US" sz="1600" b="1" cap="all" dirty="0">
                          <a:solidFill>
                            <a:schemeClr val="bg1"/>
                          </a:solidFill>
                          <a:latin typeface="Segoe UI Semilight" panose="020B0402040204020203" pitchFamily="34" charset="0"/>
                          <a:cs typeface="Segoe UI Semilight" panose="020B0402040204020203" pitchFamily="34" charset="0"/>
                        </a:rPr>
                        <a:t>Operational analytics</a:t>
                      </a:r>
                    </a:p>
                    <a:p>
                      <a:pPr marL="342835" lvl="1" indent="0">
                        <a:buNone/>
                      </a:pPr>
                      <a:r>
                        <a:rPr lang="en-US" sz="1600" kern="0" spc="102" dirty="0">
                          <a:solidFill>
                            <a:srgbClr val="FFFFFF"/>
                          </a:solidFill>
                          <a:latin typeface="Segoe UI Semibold" charset="0"/>
                          <a:cs typeface="Segoe UI Semibold" charset="0"/>
                        </a:rPr>
                        <a:t>Columnstore</a:t>
                      </a:r>
                    </a:p>
                    <a:p>
                      <a:pPr marL="342835" lvl="1" indent="0">
                        <a:buNone/>
                      </a:pPr>
                      <a:r>
                        <a:rPr lang="en-US" sz="1600" kern="0" spc="102" dirty="0">
                          <a:solidFill>
                            <a:srgbClr val="FFFFFF"/>
                          </a:solidFill>
                          <a:latin typeface="Segoe UI Semibold" charset="0"/>
                          <a:cs typeface="Segoe UI Semibold" charset="0"/>
                        </a:rPr>
                        <a:t>Hekaton (in-memory OLTP)</a:t>
                      </a:r>
                    </a:p>
                  </a:txBody>
                  <a:tcPr marL="89642" marR="89642" marT="44821" marB="44821">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5241603"/>
                  </a:ext>
                </a:extLst>
              </a:tr>
              <a:tr h="1070481">
                <a:tc>
                  <a:txBody>
                    <a:bodyPr/>
                    <a:lstStyle/>
                    <a:p>
                      <a:pPr marL="0" indent="0">
                        <a:buNone/>
                      </a:pPr>
                      <a:r>
                        <a:rPr lang="en-US" sz="1600" b="1" cap="all" dirty="0">
                          <a:solidFill>
                            <a:schemeClr val="bg1"/>
                          </a:solidFill>
                          <a:latin typeface="Segoe UI Semilight" panose="020B0402040204020203" pitchFamily="34" charset="0"/>
                          <a:cs typeface="Segoe UI Semilight" panose="020B0402040204020203" pitchFamily="34" charset="0"/>
                        </a:rPr>
                        <a:t>Predictable performance</a:t>
                      </a:r>
                    </a:p>
                    <a:p>
                      <a:pPr marL="342835" lvl="1" indent="0">
                        <a:buNone/>
                      </a:pPr>
                      <a:r>
                        <a:rPr lang="en-US" sz="1600" kern="0" spc="102" dirty="0">
                          <a:solidFill>
                            <a:schemeClr val="bg1"/>
                          </a:solidFill>
                          <a:latin typeface="Segoe UI Semibold" charset="0"/>
                          <a:cs typeface="Segoe UI Semibold" charset="0"/>
                        </a:rPr>
                        <a:t>Query Store</a:t>
                      </a:r>
                    </a:p>
                    <a:p>
                      <a:pPr marL="342835" lvl="1" indent="0">
                        <a:buNone/>
                      </a:pPr>
                      <a:r>
                        <a:rPr lang="en-US" sz="1600" kern="0" spc="102" dirty="0">
                          <a:solidFill>
                            <a:schemeClr val="bg1"/>
                          </a:solidFill>
                          <a:latin typeface="Segoe UI Semibold" charset="0"/>
                          <a:cs typeface="Segoe UI Semibold" charset="0"/>
                        </a:rPr>
                        <a:t>Index Optimization</a:t>
                      </a:r>
                    </a:p>
                    <a:p>
                      <a:endParaRPr lang="en-US" sz="1700" dirty="0"/>
                    </a:p>
                  </a:txBody>
                  <a:tcPr marL="89642" marR="89642" marT="44821" marB="44821">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609778207"/>
                  </a:ext>
                </a:extLst>
              </a:tr>
              <a:tr h="1849511">
                <a:tc>
                  <a:txBody>
                    <a:bodyPr/>
                    <a:lstStyle/>
                    <a:p>
                      <a:endParaRPr lang="en-US" sz="1700" dirty="0"/>
                    </a:p>
                  </a:txBody>
                  <a:tcPr marL="89642" marR="89642" marT="44821" marB="44821">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71511446"/>
                  </a:ext>
                </a:extLst>
              </a:tr>
            </a:tbl>
          </a:graphicData>
        </a:graphic>
      </p:graphicFrame>
      <p:graphicFrame>
        <p:nvGraphicFramePr>
          <p:cNvPr id="50" name="Table 49">
            <a:extLst>
              <a:ext uri="{FF2B5EF4-FFF2-40B4-BE49-F238E27FC236}">
                <a16:creationId xmlns:a16="http://schemas.microsoft.com/office/drawing/2014/main" id="{7CEAAB57-11D6-4539-9CFC-2A47D2BA8FC0}"/>
              </a:ext>
            </a:extLst>
          </p:cNvPr>
          <p:cNvGraphicFramePr>
            <a:graphicFrameLocks noGrp="1"/>
          </p:cNvGraphicFramePr>
          <p:nvPr>
            <p:extLst/>
          </p:nvPr>
        </p:nvGraphicFramePr>
        <p:xfrm>
          <a:off x="3126863" y="1783678"/>
          <a:ext cx="2995036" cy="3983452"/>
        </p:xfrm>
        <a:graphic>
          <a:graphicData uri="http://schemas.openxmlformats.org/drawingml/2006/table">
            <a:tbl>
              <a:tblPr firstRow="1" bandRow="1">
                <a:tableStyleId>{5DA37D80-6434-44D0-A028-1B22A696006F}</a:tableStyleId>
              </a:tblPr>
              <a:tblGrid>
                <a:gridCol w="2995036">
                  <a:extLst>
                    <a:ext uri="{9D8B030D-6E8A-4147-A177-3AD203B41FA5}">
                      <a16:colId xmlns:a16="http://schemas.microsoft.com/office/drawing/2014/main" val="3485591923"/>
                    </a:ext>
                  </a:extLst>
                </a:gridCol>
              </a:tblGrid>
              <a:tr h="1072468">
                <a:tc>
                  <a:txBody>
                    <a:bodyPr/>
                    <a:lstStyle/>
                    <a:p>
                      <a:pPr marL="0" indent="0">
                        <a:buNone/>
                      </a:pPr>
                      <a:r>
                        <a:rPr lang="en-US" sz="1600" b="1" cap="all" dirty="0">
                          <a:solidFill>
                            <a:schemeClr val="bg1"/>
                          </a:solidFill>
                          <a:latin typeface="Segoe UI Semilight" panose="020B0402040204020203" pitchFamily="34" charset="0"/>
                          <a:cs typeface="Segoe UI Semilight" panose="020B0402040204020203" pitchFamily="34" charset="0"/>
                        </a:rPr>
                        <a:t>Activity monitoring</a:t>
                      </a:r>
                    </a:p>
                    <a:p>
                      <a:pPr marL="342835" lvl="1" indent="0">
                        <a:buNone/>
                      </a:pPr>
                      <a:r>
                        <a:rPr lang="en-US" sz="1600" kern="0" spc="102" dirty="0">
                          <a:solidFill>
                            <a:srgbClr val="FFFFFF"/>
                          </a:solidFill>
                          <a:latin typeface="Segoe UI Semibold" charset="0"/>
                          <a:cs typeface="Segoe UI Semibold" charset="0"/>
                        </a:rPr>
                        <a:t>Engine Audit</a:t>
                      </a:r>
                    </a:p>
                    <a:p>
                      <a:pPr marL="342835" lvl="1" indent="0">
                        <a:buNone/>
                      </a:pPr>
                      <a:endParaRPr lang="en-US" sz="1600" kern="0" spc="102" dirty="0">
                        <a:solidFill>
                          <a:srgbClr val="FFFFFF"/>
                        </a:solidFill>
                        <a:latin typeface="Segoe UI Semibold" charset="0"/>
                        <a:cs typeface="Segoe UI Semibold" charset="0"/>
                      </a:endParaRPr>
                    </a:p>
                    <a:p>
                      <a:pPr marL="342835" lvl="1" indent="0">
                        <a:buNone/>
                      </a:pPr>
                      <a:endParaRPr lang="en-US" sz="1600" kern="0" spc="102" dirty="0">
                        <a:solidFill>
                          <a:srgbClr val="FFFFFF"/>
                        </a:solidFill>
                        <a:latin typeface="Segoe UI Semibold" charset="0"/>
                        <a:cs typeface="Segoe UI Semibold" charset="0"/>
                      </a:endParaRPr>
                    </a:p>
                  </a:txBody>
                  <a:tcPr marL="89642" marR="89642" marT="44821" marB="44821">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5241603"/>
                  </a:ext>
                </a:extLst>
              </a:tr>
              <a:tr h="1317603">
                <a:tc>
                  <a:txBody>
                    <a:bodyPr/>
                    <a:lstStyle/>
                    <a:p>
                      <a:pPr marL="0" indent="0">
                        <a:buNone/>
                      </a:pPr>
                      <a:r>
                        <a:rPr lang="en-US" sz="1600" b="1" cap="all" dirty="0">
                          <a:solidFill>
                            <a:schemeClr val="bg1"/>
                          </a:solidFill>
                          <a:latin typeface="Segoe UI Semilight" panose="020B0402040204020203" pitchFamily="34" charset="0"/>
                          <a:cs typeface="Segoe UI Semilight" panose="020B0402040204020203" pitchFamily="34" charset="0"/>
                        </a:rPr>
                        <a:t>Access Control </a:t>
                      </a:r>
                    </a:p>
                    <a:p>
                      <a:pPr marL="241254" lvl="1" indent="0">
                        <a:buNone/>
                      </a:pPr>
                      <a:r>
                        <a:rPr lang="en-US" sz="1600" kern="0" spc="102" dirty="0">
                          <a:solidFill>
                            <a:schemeClr val="bg1"/>
                          </a:solidFill>
                          <a:latin typeface="Segoe UI Semibold" charset="0"/>
                          <a:cs typeface="Segoe UI Semibold" charset="0"/>
                        </a:rPr>
                        <a:t>SQL Firewall</a:t>
                      </a:r>
                    </a:p>
                    <a:p>
                      <a:pPr marL="241254" lvl="1" indent="0">
                        <a:buNone/>
                      </a:pPr>
                      <a:r>
                        <a:rPr lang="en-US" sz="1600" kern="0" spc="102" dirty="0">
                          <a:solidFill>
                            <a:schemeClr val="bg1"/>
                          </a:solidFill>
                          <a:latin typeface="Segoe UI Semibold" charset="0"/>
                          <a:cs typeface="Segoe UI Semibold" charset="0"/>
                        </a:rPr>
                        <a:t>RLS, Dynamic data masking</a:t>
                      </a:r>
                    </a:p>
                    <a:p>
                      <a:pPr marL="241254" lvl="1" indent="0">
                        <a:buNone/>
                      </a:pPr>
                      <a:endParaRPr lang="en-US" sz="1600" kern="0" spc="102" dirty="0">
                        <a:solidFill>
                          <a:schemeClr val="tx2"/>
                        </a:solidFill>
                        <a:latin typeface="Segoe UI Semibold" charset="0"/>
                        <a:cs typeface="Segoe UI Semibold" charset="0"/>
                      </a:endParaRPr>
                    </a:p>
                  </a:txBody>
                  <a:tcPr marL="89642" marR="89642" marT="44821" marB="44821">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609778207"/>
                  </a:ext>
                </a:extLst>
              </a:tr>
              <a:tr h="1593381">
                <a:tc>
                  <a:txBody>
                    <a:bodyPr/>
                    <a:lstStyle/>
                    <a:p>
                      <a:pPr marL="0" indent="0">
                        <a:buNone/>
                      </a:pPr>
                      <a:r>
                        <a:rPr lang="en-US" sz="1600" b="1" cap="all" dirty="0">
                          <a:solidFill>
                            <a:schemeClr val="bg1"/>
                          </a:solidFill>
                          <a:latin typeface="Segoe UI Semilight" panose="020B0402040204020203" pitchFamily="34" charset="0"/>
                          <a:cs typeface="Segoe UI Semilight" panose="020B0402040204020203" pitchFamily="34" charset="0"/>
                        </a:rPr>
                        <a:t>Data Protection</a:t>
                      </a:r>
                    </a:p>
                    <a:p>
                      <a:pPr marL="241254" lvl="1" indent="0">
                        <a:buFont typeface="Arial" pitchFamily="34" charset="0"/>
                        <a:buNone/>
                      </a:pPr>
                      <a:r>
                        <a:rPr lang="en-US" sz="1600" kern="0" spc="102" dirty="0">
                          <a:solidFill>
                            <a:srgbClr val="FFFFFF"/>
                          </a:solidFill>
                          <a:latin typeface="Segoe UI Semibold" charset="0"/>
                          <a:cs typeface="Segoe UI Semibold" charset="0"/>
                        </a:rPr>
                        <a:t>Encrypt in motion (TLS)</a:t>
                      </a:r>
                    </a:p>
                    <a:p>
                      <a:pPr marL="241254" lvl="1" indent="0">
                        <a:buFont typeface="Arial" pitchFamily="34" charset="0"/>
                        <a:buNone/>
                      </a:pPr>
                      <a:r>
                        <a:rPr lang="en-US" sz="1600" kern="0" spc="102" dirty="0">
                          <a:solidFill>
                            <a:srgbClr val="FFFFFF"/>
                          </a:solidFill>
                          <a:latin typeface="Segoe UI Semibold" charset="0"/>
                          <a:cs typeface="Segoe UI Semibold" charset="0"/>
                        </a:rPr>
                        <a:t>TDE </a:t>
                      </a:r>
                    </a:p>
                    <a:p>
                      <a:pPr marL="241254" lvl="1" indent="0">
                        <a:buFont typeface="Arial" pitchFamily="34" charset="0"/>
                        <a:buNone/>
                      </a:pPr>
                      <a:r>
                        <a:rPr lang="en-US" sz="1600" kern="0" spc="102" dirty="0">
                          <a:solidFill>
                            <a:srgbClr val="FFFFFF"/>
                          </a:solidFill>
                          <a:latin typeface="Segoe UI Semibold" charset="0"/>
                          <a:cs typeface="Segoe UI Semibold" charset="0"/>
                        </a:rPr>
                        <a:t>Always Encrypted (equality)</a:t>
                      </a:r>
                    </a:p>
                    <a:p>
                      <a:endParaRPr lang="en-US" sz="1700" dirty="0"/>
                    </a:p>
                  </a:txBody>
                  <a:tcPr marL="89642" marR="89642" marT="44821" marB="44821">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5018111"/>
                  </a:ext>
                </a:extLst>
              </a:tr>
            </a:tbl>
          </a:graphicData>
        </a:graphic>
      </p:graphicFrame>
      <p:graphicFrame>
        <p:nvGraphicFramePr>
          <p:cNvPr id="58" name="Table 57">
            <a:extLst>
              <a:ext uri="{FF2B5EF4-FFF2-40B4-BE49-F238E27FC236}">
                <a16:creationId xmlns:a16="http://schemas.microsoft.com/office/drawing/2014/main" id="{FEFA4728-40BA-442A-9B14-C8BBA3AF46B0}"/>
              </a:ext>
            </a:extLst>
          </p:cNvPr>
          <p:cNvGraphicFramePr>
            <a:graphicFrameLocks noGrp="1"/>
          </p:cNvGraphicFramePr>
          <p:nvPr>
            <p:extLst/>
          </p:nvPr>
        </p:nvGraphicFramePr>
        <p:xfrm>
          <a:off x="6197599" y="1783677"/>
          <a:ext cx="2950549" cy="3975570"/>
        </p:xfrm>
        <a:graphic>
          <a:graphicData uri="http://schemas.openxmlformats.org/drawingml/2006/table">
            <a:tbl>
              <a:tblPr firstRow="1" bandRow="1">
                <a:tableStyleId>{5DA37D80-6434-44D0-A028-1B22A696006F}</a:tableStyleId>
              </a:tblPr>
              <a:tblGrid>
                <a:gridCol w="2950549">
                  <a:extLst>
                    <a:ext uri="{9D8B030D-6E8A-4147-A177-3AD203B41FA5}">
                      <a16:colId xmlns:a16="http://schemas.microsoft.com/office/drawing/2014/main" val="3485591923"/>
                    </a:ext>
                  </a:extLst>
                </a:gridCol>
              </a:tblGrid>
              <a:tr h="1076382">
                <a:tc>
                  <a:txBody>
                    <a:bodyPr/>
                    <a:lstStyle/>
                    <a:p>
                      <a:pPr marL="0" indent="0">
                        <a:buNone/>
                      </a:pPr>
                      <a:r>
                        <a:rPr lang="en-US" sz="1600" b="1" cap="all" dirty="0">
                          <a:solidFill>
                            <a:schemeClr val="bg1"/>
                          </a:solidFill>
                          <a:latin typeface="Segoe UI Semilight" panose="020B0402040204020203" pitchFamily="34" charset="0"/>
                          <a:cs typeface="Segoe UI Semilight" panose="020B0402040204020203" pitchFamily="34" charset="0"/>
                        </a:rPr>
                        <a:t>HA-DR built-in</a:t>
                      </a:r>
                    </a:p>
                    <a:p>
                      <a:pPr marL="241254" lvl="1" indent="0">
                        <a:buNone/>
                      </a:pPr>
                      <a:r>
                        <a:rPr lang="en-US" sz="1600" kern="0" spc="102" dirty="0">
                          <a:solidFill>
                            <a:srgbClr val="FFFFFF"/>
                          </a:solidFill>
                          <a:latin typeface="Segoe UI Semibold" charset="0"/>
                          <a:cs typeface="Segoe UI Semibold" charset="0"/>
                        </a:rPr>
                        <a:t>99.99% SLA </a:t>
                      </a:r>
                    </a:p>
                    <a:p>
                      <a:pPr marL="241254" lvl="1" indent="0">
                        <a:buNone/>
                      </a:pPr>
                      <a:r>
                        <a:rPr lang="en-US" sz="1600" kern="0" spc="102" dirty="0">
                          <a:solidFill>
                            <a:srgbClr val="FFFFFF"/>
                          </a:solidFill>
                          <a:latin typeface="Segoe UI Semibold" charset="0"/>
                          <a:cs typeface="Segoe UI Semibold" charset="0"/>
                        </a:rPr>
                        <a:t>Geo-restore</a:t>
                      </a:r>
                    </a:p>
                    <a:p>
                      <a:pPr marL="342835" lvl="1" indent="0">
                        <a:buNone/>
                      </a:pPr>
                      <a:endParaRPr lang="en-US" sz="1600" kern="0" spc="102" dirty="0">
                        <a:solidFill>
                          <a:srgbClr val="FFFFFF"/>
                        </a:solidFill>
                        <a:latin typeface="Segoe UI Semibold" charset="0"/>
                        <a:cs typeface="Segoe UI Semibold" charset="0"/>
                      </a:endParaRPr>
                    </a:p>
                  </a:txBody>
                  <a:tcPr marL="89642" marR="89642" marT="44821" marB="44821">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5241603"/>
                  </a:ext>
                </a:extLst>
              </a:tr>
              <a:tr h="1207730">
                <a:tc>
                  <a:txBody>
                    <a:bodyPr/>
                    <a:lstStyle/>
                    <a:p>
                      <a:pPr marL="0" indent="0">
                        <a:buNone/>
                      </a:pPr>
                      <a:r>
                        <a:rPr lang="en-US" sz="1600" b="1" cap="all" dirty="0">
                          <a:solidFill>
                            <a:schemeClr val="bg1"/>
                          </a:solidFill>
                          <a:latin typeface="Segoe UI Semilight" panose="020B0402040204020203" pitchFamily="34" charset="0"/>
                          <a:cs typeface="Segoe UI Semilight" panose="020B0402040204020203" pitchFamily="34" charset="0"/>
                        </a:rPr>
                        <a:t>Backup and restore</a:t>
                      </a:r>
                    </a:p>
                    <a:p>
                      <a:pPr marL="241254" lvl="1" indent="0">
                        <a:buNone/>
                      </a:pPr>
                      <a:r>
                        <a:rPr lang="en-US" sz="1600" kern="0" spc="102" dirty="0">
                          <a:solidFill>
                            <a:schemeClr val="bg1"/>
                          </a:solidFill>
                          <a:latin typeface="Segoe UI Semibold" charset="0"/>
                          <a:cs typeface="Segoe UI Semibold" charset="0"/>
                        </a:rPr>
                        <a:t>Backup with health check</a:t>
                      </a:r>
                    </a:p>
                    <a:p>
                      <a:pPr marL="241254" lvl="1" indent="0">
                        <a:buNone/>
                      </a:pPr>
                      <a:r>
                        <a:rPr lang="en-US" sz="1600" kern="0" spc="102" dirty="0">
                          <a:solidFill>
                            <a:schemeClr val="bg1"/>
                          </a:solidFill>
                          <a:latin typeface="Segoe UI Semibold" charset="0"/>
                          <a:cs typeface="Segoe UI Semibold" charset="0"/>
                        </a:rPr>
                        <a:t>35 days PITR</a:t>
                      </a:r>
                    </a:p>
                  </a:txBody>
                  <a:tcPr marL="89642" marR="89642" marT="44821" marB="44821">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609778207"/>
                  </a:ext>
                </a:extLst>
              </a:tr>
              <a:tr h="1691458">
                <a:tc>
                  <a:txBody>
                    <a:bodyPr/>
                    <a:lstStyle/>
                    <a:p>
                      <a:pPr marL="0" indent="0">
                        <a:buNone/>
                      </a:pPr>
                      <a:r>
                        <a:rPr lang="en-US" sz="1600" b="1" cap="all" dirty="0">
                          <a:solidFill>
                            <a:schemeClr val="bg1"/>
                          </a:solidFill>
                          <a:latin typeface="Segoe UI Semilight" panose="020B0402040204020203" pitchFamily="34" charset="0"/>
                          <a:cs typeface="Segoe UI Semilight" panose="020B0402040204020203" pitchFamily="34" charset="0"/>
                        </a:rPr>
                        <a:t>Distributed application</a:t>
                      </a:r>
                    </a:p>
                    <a:p>
                      <a:pPr marL="241254" lvl="1" indent="0">
                        <a:buNone/>
                      </a:pPr>
                      <a:r>
                        <a:rPr lang="en-US" sz="1600" kern="0" spc="102" dirty="0">
                          <a:solidFill>
                            <a:srgbClr val="FFFFFF"/>
                          </a:solidFill>
                          <a:latin typeface="Segoe UI Semibold" charset="0"/>
                          <a:cs typeface="Segoe UI Semibold" charset="0"/>
                        </a:rPr>
                        <a:t>Change Tracking</a:t>
                      </a:r>
                    </a:p>
                    <a:p>
                      <a:pPr marL="0" indent="0">
                        <a:buNone/>
                      </a:pPr>
                      <a:endParaRPr lang="en-US" sz="1700" dirty="0">
                        <a:solidFill>
                          <a:schemeClr val="tx2"/>
                        </a:solidFill>
                      </a:endParaRPr>
                    </a:p>
                    <a:p>
                      <a:pPr marL="0" indent="0">
                        <a:buNone/>
                      </a:pPr>
                      <a:endParaRPr lang="en-US" sz="1700" dirty="0">
                        <a:solidFill>
                          <a:schemeClr val="tx2"/>
                        </a:solidFill>
                      </a:endParaRPr>
                    </a:p>
                    <a:p>
                      <a:pPr marL="0" indent="0">
                        <a:buNone/>
                      </a:pPr>
                      <a:endParaRPr lang="en-US" sz="1700" dirty="0">
                        <a:solidFill>
                          <a:schemeClr val="tx2"/>
                        </a:solidFill>
                      </a:endParaRPr>
                    </a:p>
                    <a:p>
                      <a:pPr marL="0" indent="0">
                        <a:buNone/>
                      </a:pPr>
                      <a:endParaRPr lang="en-US" sz="1700" dirty="0">
                        <a:solidFill>
                          <a:schemeClr val="tx2"/>
                        </a:solidFill>
                      </a:endParaRPr>
                    </a:p>
                  </a:txBody>
                  <a:tcPr marL="89642" marR="89642" marT="44821" marB="44821">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5018111"/>
                  </a:ext>
                </a:extLst>
              </a:tr>
            </a:tbl>
          </a:graphicData>
        </a:graphic>
      </p:graphicFrame>
      <p:graphicFrame>
        <p:nvGraphicFramePr>
          <p:cNvPr id="71" name="Table 70">
            <a:extLst>
              <a:ext uri="{FF2B5EF4-FFF2-40B4-BE49-F238E27FC236}">
                <a16:creationId xmlns:a16="http://schemas.microsoft.com/office/drawing/2014/main" id="{59291180-1DD4-4AFC-ADFB-A22D7CFBF6D6}"/>
              </a:ext>
            </a:extLst>
          </p:cNvPr>
          <p:cNvGraphicFramePr>
            <a:graphicFrameLocks noGrp="1"/>
          </p:cNvGraphicFramePr>
          <p:nvPr>
            <p:extLst/>
          </p:nvPr>
        </p:nvGraphicFramePr>
        <p:xfrm>
          <a:off x="9223848" y="1793413"/>
          <a:ext cx="2773615" cy="3954184"/>
        </p:xfrm>
        <a:graphic>
          <a:graphicData uri="http://schemas.openxmlformats.org/drawingml/2006/table">
            <a:tbl>
              <a:tblPr firstRow="1" bandRow="1">
                <a:tableStyleId>{5DA37D80-6434-44D0-A028-1B22A696006F}</a:tableStyleId>
              </a:tblPr>
              <a:tblGrid>
                <a:gridCol w="2773615">
                  <a:extLst>
                    <a:ext uri="{9D8B030D-6E8A-4147-A177-3AD203B41FA5}">
                      <a16:colId xmlns:a16="http://schemas.microsoft.com/office/drawing/2014/main" val="3485591923"/>
                    </a:ext>
                  </a:extLst>
                </a:gridCol>
              </a:tblGrid>
              <a:tr h="1977092">
                <a:tc>
                  <a:txBody>
                    <a:bodyPr/>
                    <a:lstStyle/>
                    <a:p>
                      <a:pPr marL="0" indent="0">
                        <a:buNone/>
                      </a:pPr>
                      <a:r>
                        <a:rPr lang="en-US" sz="1600" b="1" cap="all" dirty="0">
                          <a:solidFill>
                            <a:schemeClr val="bg1"/>
                          </a:solidFill>
                          <a:latin typeface="Segoe UI Semilight" panose="020B0402040204020203" pitchFamily="34" charset="0"/>
                          <a:cs typeface="Segoe UI Semilight" panose="020B0402040204020203" pitchFamily="34" charset="0"/>
                        </a:rPr>
                        <a:t>Biz model &amp; SKUs</a:t>
                      </a:r>
                    </a:p>
                    <a:p>
                      <a:pPr marL="342835" lvl="1" indent="0">
                        <a:buNone/>
                      </a:pPr>
                      <a:r>
                        <a:rPr lang="en-US" sz="1600" kern="0" spc="102" dirty="0">
                          <a:solidFill>
                            <a:srgbClr val="FFFFFF"/>
                          </a:solidFill>
                          <a:latin typeface="Segoe UI Semibold" charset="0"/>
                          <a:cs typeface="Segoe UI Semibold" charset="0"/>
                        </a:rPr>
                        <a:t>DTU/</a:t>
                      </a:r>
                      <a:r>
                        <a:rPr lang="en-US" sz="1600" kern="0" spc="102" dirty="0" err="1">
                          <a:solidFill>
                            <a:srgbClr val="FFFFFF"/>
                          </a:solidFill>
                          <a:latin typeface="Segoe UI Semibold" charset="0"/>
                          <a:cs typeface="Segoe UI Semibold" charset="0"/>
                        </a:rPr>
                        <a:t>eDTU</a:t>
                      </a:r>
                      <a:r>
                        <a:rPr lang="en-US" sz="1600" kern="0" spc="102" dirty="0">
                          <a:solidFill>
                            <a:srgbClr val="FFFFFF"/>
                          </a:solidFill>
                          <a:latin typeface="Segoe UI Semibold" charset="0"/>
                          <a:cs typeface="Segoe UI Semibold" charset="0"/>
                        </a:rPr>
                        <a:t> </a:t>
                      </a:r>
                    </a:p>
                    <a:p>
                      <a:pPr marL="342835" lvl="1" indent="0">
                        <a:buNone/>
                      </a:pPr>
                      <a:r>
                        <a:rPr lang="en-US" sz="1600" kern="0" spc="102" dirty="0">
                          <a:solidFill>
                            <a:srgbClr val="FFFFFF"/>
                          </a:solidFill>
                          <a:latin typeface="Segoe UI Semibold" charset="0"/>
                          <a:cs typeface="Segoe UI Semibold" charset="0"/>
                        </a:rPr>
                        <a:t>&lt;=1TB (premium &amp; standard)</a:t>
                      </a:r>
                    </a:p>
                    <a:p>
                      <a:endParaRPr lang="en-US" sz="1700" dirty="0"/>
                    </a:p>
                  </a:txBody>
                  <a:tcPr marL="89642" marR="89642" marT="44821" marB="44821">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835241603"/>
                  </a:ext>
                </a:extLst>
              </a:tr>
              <a:tr h="1977092">
                <a:tc>
                  <a:txBody>
                    <a:bodyPr/>
                    <a:lstStyle/>
                    <a:p>
                      <a:endParaRPr lang="en-US" sz="1700" dirty="0"/>
                    </a:p>
                  </a:txBody>
                  <a:tcPr marL="89642" marR="89642" marT="44821" marB="44821">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24581360"/>
                  </a:ext>
                </a:extLst>
              </a:tr>
            </a:tbl>
          </a:graphicData>
        </a:graphic>
      </p:graphicFrame>
    </p:spTree>
    <p:extLst>
      <p:ext uri="{BB962C8B-B14F-4D97-AF65-F5344CB8AC3E}">
        <p14:creationId xmlns:p14="http://schemas.microsoft.com/office/powerpoint/2010/main" val="1037904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Rectangle 131">
            <a:extLst>
              <a:ext uri="{FF2B5EF4-FFF2-40B4-BE49-F238E27FC236}">
                <a16:creationId xmlns:a16="http://schemas.microsoft.com/office/drawing/2014/main" id="{ED101C06-D7DA-45CF-A881-4EC24F6A1C58}"/>
              </a:ext>
            </a:extLst>
          </p:cNvPr>
          <p:cNvSpPr/>
          <p:nvPr/>
        </p:nvSpPr>
        <p:spPr bwMode="auto">
          <a:xfrm>
            <a:off x="-10351" y="-3737"/>
            <a:ext cx="12216773" cy="88530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solidFill>
                <a:srgbClr val="000000"/>
              </a:solidFill>
              <a:latin typeface="Segoe UI"/>
            </a:endParaRPr>
          </a:p>
        </p:txBody>
      </p:sp>
      <p:sp>
        <p:nvSpPr>
          <p:cNvPr id="2" name="Rectangle 1"/>
          <p:cNvSpPr/>
          <p:nvPr/>
        </p:nvSpPr>
        <p:spPr>
          <a:xfrm>
            <a:off x="22285" y="-273874"/>
            <a:ext cx="12190271" cy="1486049"/>
          </a:xfrm>
          <a:prstGeom prst="rect">
            <a:avLst/>
          </a:prstGeom>
        </p:spPr>
        <p:txBody>
          <a:bodyPr wrap="square" lIns="448149" tIns="448149" rIns="448149" anchor="t">
            <a:noAutofit/>
          </a:bodyPr>
          <a:lstStyle/>
          <a:p>
            <a:pPr defTabSz="896214">
              <a:defRPr/>
            </a:pPr>
            <a:r>
              <a:rPr lang="en-US" sz="3600" kern="0" dirty="0">
                <a:ln w="3175">
                  <a:noFill/>
                </a:ln>
                <a:solidFill>
                  <a:srgbClr val="0078D7"/>
                </a:solidFill>
                <a:latin typeface="Segoe UI Light" panose="020B0502040204020203" pitchFamily="34" charset="0"/>
                <a:cs typeface="Segoe UI Light" panose="020B0502040204020203" pitchFamily="34" charset="0"/>
              </a:rPr>
              <a:t>TCO optimization - The MS IT Example</a:t>
            </a:r>
            <a:endParaRPr lang="en-US" sz="1600" kern="0" dirty="0">
              <a:ln w="3175">
                <a:noFill/>
              </a:ln>
              <a:solidFill>
                <a:srgbClr val="0078D7"/>
              </a:solidFill>
              <a:latin typeface="Segoe UI Light" panose="020B0502040204020203" pitchFamily="34" charset="0"/>
              <a:cs typeface="Segoe UI Light" panose="020B0502040204020203" pitchFamily="34" charset="0"/>
            </a:endParaRPr>
          </a:p>
        </p:txBody>
      </p:sp>
      <p:grpSp>
        <p:nvGrpSpPr>
          <p:cNvPr id="100" name="Group 4"/>
          <p:cNvGrpSpPr>
            <a:grpSpLocks noChangeAspect="1"/>
          </p:cNvGrpSpPr>
          <p:nvPr/>
        </p:nvGrpSpPr>
        <p:grpSpPr bwMode="auto">
          <a:xfrm>
            <a:off x="355091" y="4117878"/>
            <a:ext cx="933318" cy="1776161"/>
            <a:chOff x="4583" y="1466"/>
            <a:chExt cx="588" cy="1119"/>
          </a:xfrm>
        </p:grpSpPr>
        <p:sp>
          <p:nvSpPr>
            <p:cNvPr id="101" name="AutoShape 3"/>
            <p:cNvSpPr>
              <a:spLocks noChangeAspect="1" noChangeArrowheads="1" noTextEdit="1"/>
            </p:cNvSpPr>
            <p:nvPr/>
          </p:nvSpPr>
          <p:spPr bwMode="auto">
            <a:xfrm>
              <a:off x="4583" y="1466"/>
              <a:ext cx="588" cy="1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02" name="Freeform 5"/>
            <p:cNvSpPr>
              <a:spLocks/>
            </p:cNvSpPr>
            <p:nvPr/>
          </p:nvSpPr>
          <p:spPr bwMode="auto">
            <a:xfrm>
              <a:off x="4679" y="1467"/>
              <a:ext cx="143" cy="96"/>
            </a:xfrm>
            <a:custGeom>
              <a:avLst/>
              <a:gdLst>
                <a:gd name="T0" fmla="*/ 141 w 141"/>
                <a:gd name="T1" fmla="*/ 95 h 95"/>
                <a:gd name="T2" fmla="*/ 141 w 141"/>
                <a:gd name="T3" fmla="*/ 65 h 95"/>
                <a:gd name="T4" fmla="*/ 76 w 141"/>
                <a:gd name="T5" fmla="*/ 0 h 95"/>
                <a:gd name="T6" fmla="*/ 64 w 141"/>
                <a:gd name="T7" fmla="*/ 0 h 95"/>
                <a:gd name="T8" fmla="*/ 0 w 141"/>
                <a:gd name="T9" fmla="*/ 65 h 95"/>
                <a:gd name="T10" fmla="*/ 0 w 141"/>
                <a:gd name="T11" fmla="*/ 95 h 95"/>
                <a:gd name="T12" fmla="*/ 141 w 141"/>
                <a:gd name="T13" fmla="*/ 95 h 95"/>
              </a:gdLst>
              <a:ahLst/>
              <a:cxnLst>
                <a:cxn ang="0">
                  <a:pos x="T0" y="T1"/>
                </a:cxn>
                <a:cxn ang="0">
                  <a:pos x="T2" y="T3"/>
                </a:cxn>
                <a:cxn ang="0">
                  <a:pos x="T4" y="T5"/>
                </a:cxn>
                <a:cxn ang="0">
                  <a:pos x="T6" y="T7"/>
                </a:cxn>
                <a:cxn ang="0">
                  <a:pos x="T8" y="T9"/>
                </a:cxn>
                <a:cxn ang="0">
                  <a:pos x="T10" y="T11"/>
                </a:cxn>
                <a:cxn ang="0">
                  <a:pos x="T12" y="T13"/>
                </a:cxn>
              </a:cxnLst>
              <a:rect l="0" t="0" r="r" b="b"/>
              <a:pathLst>
                <a:path w="141" h="95">
                  <a:moveTo>
                    <a:pt x="141" y="95"/>
                  </a:moveTo>
                  <a:cubicBezTo>
                    <a:pt x="141" y="65"/>
                    <a:pt x="141" y="65"/>
                    <a:pt x="141" y="65"/>
                  </a:cubicBezTo>
                  <a:cubicBezTo>
                    <a:pt x="141" y="29"/>
                    <a:pt x="112" y="0"/>
                    <a:pt x="76" y="0"/>
                  </a:cubicBezTo>
                  <a:cubicBezTo>
                    <a:pt x="64" y="0"/>
                    <a:pt x="64" y="0"/>
                    <a:pt x="64" y="0"/>
                  </a:cubicBezTo>
                  <a:cubicBezTo>
                    <a:pt x="29" y="0"/>
                    <a:pt x="0" y="29"/>
                    <a:pt x="0" y="65"/>
                  </a:cubicBezTo>
                  <a:cubicBezTo>
                    <a:pt x="0" y="95"/>
                    <a:pt x="0" y="95"/>
                    <a:pt x="0" y="95"/>
                  </a:cubicBezTo>
                  <a:lnTo>
                    <a:pt x="141" y="9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03" name="Freeform 6"/>
            <p:cNvSpPr>
              <a:spLocks/>
            </p:cNvSpPr>
            <p:nvPr/>
          </p:nvSpPr>
          <p:spPr bwMode="auto">
            <a:xfrm>
              <a:off x="4662" y="1585"/>
              <a:ext cx="175" cy="36"/>
            </a:xfrm>
            <a:custGeom>
              <a:avLst/>
              <a:gdLst>
                <a:gd name="T0" fmla="*/ 0 w 172"/>
                <a:gd name="T1" fmla="*/ 27 h 36"/>
                <a:gd name="T2" fmla="*/ 9 w 172"/>
                <a:gd name="T3" fmla="*/ 36 h 36"/>
                <a:gd name="T4" fmla="*/ 164 w 172"/>
                <a:gd name="T5" fmla="*/ 36 h 36"/>
                <a:gd name="T6" fmla="*/ 172 w 172"/>
                <a:gd name="T7" fmla="*/ 27 h 36"/>
                <a:gd name="T8" fmla="*/ 172 w 172"/>
                <a:gd name="T9" fmla="*/ 8 h 36"/>
                <a:gd name="T10" fmla="*/ 164 w 172"/>
                <a:gd name="T11" fmla="*/ 0 h 36"/>
                <a:gd name="T12" fmla="*/ 9 w 172"/>
                <a:gd name="T13" fmla="*/ 0 h 36"/>
                <a:gd name="T14" fmla="*/ 0 w 172"/>
                <a:gd name="T15" fmla="*/ 8 h 36"/>
                <a:gd name="T16" fmla="*/ 0 w 172"/>
                <a:gd name="T17"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36">
                  <a:moveTo>
                    <a:pt x="0" y="27"/>
                  </a:moveTo>
                  <a:cubicBezTo>
                    <a:pt x="0" y="32"/>
                    <a:pt x="4" y="36"/>
                    <a:pt x="9" y="36"/>
                  </a:cubicBezTo>
                  <a:cubicBezTo>
                    <a:pt x="164" y="36"/>
                    <a:pt x="164" y="36"/>
                    <a:pt x="164" y="36"/>
                  </a:cubicBezTo>
                  <a:cubicBezTo>
                    <a:pt x="169" y="36"/>
                    <a:pt x="172" y="32"/>
                    <a:pt x="172" y="27"/>
                  </a:cubicBezTo>
                  <a:cubicBezTo>
                    <a:pt x="172" y="8"/>
                    <a:pt x="172" y="8"/>
                    <a:pt x="172" y="8"/>
                  </a:cubicBezTo>
                  <a:cubicBezTo>
                    <a:pt x="172" y="3"/>
                    <a:pt x="169" y="0"/>
                    <a:pt x="164" y="0"/>
                  </a:cubicBezTo>
                  <a:cubicBezTo>
                    <a:pt x="9" y="0"/>
                    <a:pt x="9" y="0"/>
                    <a:pt x="9" y="0"/>
                  </a:cubicBezTo>
                  <a:cubicBezTo>
                    <a:pt x="4" y="0"/>
                    <a:pt x="0" y="3"/>
                    <a:pt x="0" y="8"/>
                  </a:cubicBezTo>
                  <a:lnTo>
                    <a:pt x="0" y="27"/>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04" name="Rectangle 103"/>
            <p:cNvSpPr>
              <a:spLocks noChangeArrowheads="1"/>
            </p:cNvSpPr>
            <p:nvPr/>
          </p:nvSpPr>
          <p:spPr bwMode="auto">
            <a:xfrm>
              <a:off x="4654" y="2064"/>
              <a:ext cx="192" cy="63"/>
            </a:xfrm>
            <a:prstGeom prst="rect">
              <a:avLst/>
            </a:prstGeom>
            <a:solidFill>
              <a:srgbClr val="0078D7">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05" name="Rectangle 104"/>
            <p:cNvSpPr>
              <a:spLocks noChangeArrowheads="1"/>
            </p:cNvSpPr>
            <p:nvPr/>
          </p:nvSpPr>
          <p:spPr bwMode="auto">
            <a:xfrm>
              <a:off x="4796" y="2064"/>
              <a:ext cx="50" cy="467"/>
            </a:xfrm>
            <a:prstGeom prst="rect">
              <a:avLst/>
            </a:prstGeom>
            <a:solidFill>
              <a:srgbClr val="0078D7">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06" name="Freeform 9"/>
            <p:cNvSpPr>
              <a:spLocks/>
            </p:cNvSpPr>
            <p:nvPr/>
          </p:nvSpPr>
          <p:spPr bwMode="auto">
            <a:xfrm>
              <a:off x="4796" y="2525"/>
              <a:ext cx="115" cy="60"/>
            </a:xfrm>
            <a:custGeom>
              <a:avLst/>
              <a:gdLst>
                <a:gd name="T0" fmla="*/ 49 w 113"/>
                <a:gd name="T1" fmla="*/ 0 h 59"/>
                <a:gd name="T2" fmla="*/ 113 w 113"/>
                <a:gd name="T3" fmla="*/ 59 h 59"/>
                <a:gd name="T4" fmla="*/ 49 w 113"/>
                <a:gd name="T5" fmla="*/ 59 h 59"/>
                <a:gd name="T6" fmla="*/ 0 w 113"/>
                <a:gd name="T7" fmla="*/ 59 h 59"/>
                <a:gd name="T8" fmla="*/ 0 w 113"/>
                <a:gd name="T9" fmla="*/ 0 h 59"/>
                <a:gd name="T10" fmla="*/ 49 w 113"/>
                <a:gd name="T11" fmla="*/ 0 h 59"/>
              </a:gdLst>
              <a:ahLst/>
              <a:cxnLst>
                <a:cxn ang="0">
                  <a:pos x="T0" y="T1"/>
                </a:cxn>
                <a:cxn ang="0">
                  <a:pos x="T2" y="T3"/>
                </a:cxn>
                <a:cxn ang="0">
                  <a:pos x="T4" y="T5"/>
                </a:cxn>
                <a:cxn ang="0">
                  <a:pos x="T6" y="T7"/>
                </a:cxn>
                <a:cxn ang="0">
                  <a:pos x="T8" y="T9"/>
                </a:cxn>
                <a:cxn ang="0">
                  <a:pos x="T10" y="T11"/>
                </a:cxn>
              </a:cxnLst>
              <a:rect l="0" t="0" r="r" b="b"/>
              <a:pathLst>
                <a:path w="113" h="59">
                  <a:moveTo>
                    <a:pt x="49" y="0"/>
                  </a:moveTo>
                  <a:cubicBezTo>
                    <a:pt x="83" y="0"/>
                    <a:pt x="110" y="26"/>
                    <a:pt x="113" y="59"/>
                  </a:cubicBezTo>
                  <a:cubicBezTo>
                    <a:pt x="49" y="59"/>
                    <a:pt x="49" y="59"/>
                    <a:pt x="49" y="59"/>
                  </a:cubicBezTo>
                  <a:cubicBezTo>
                    <a:pt x="0" y="59"/>
                    <a:pt x="0" y="59"/>
                    <a:pt x="0" y="59"/>
                  </a:cubicBezTo>
                  <a:cubicBezTo>
                    <a:pt x="0" y="0"/>
                    <a:pt x="0" y="0"/>
                    <a:pt x="0" y="0"/>
                  </a:cubicBezTo>
                  <a:lnTo>
                    <a:pt x="49" y="0"/>
                  </a:lnTo>
                  <a:close/>
                </a:path>
              </a:pathLst>
            </a:custGeom>
            <a:solidFill>
              <a:srgbClr val="563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07" name="Rectangle 106"/>
            <p:cNvSpPr>
              <a:spLocks noChangeArrowheads="1"/>
            </p:cNvSpPr>
            <p:nvPr/>
          </p:nvSpPr>
          <p:spPr bwMode="auto">
            <a:xfrm>
              <a:off x="4654" y="2064"/>
              <a:ext cx="50" cy="467"/>
            </a:xfrm>
            <a:prstGeom prst="rect">
              <a:avLst/>
            </a:prstGeom>
            <a:solidFill>
              <a:srgbClr val="0078D7">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08" name="Freeform 11"/>
            <p:cNvSpPr>
              <a:spLocks/>
            </p:cNvSpPr>
            <p:nvPr/>
          </p:nvSpPr>
          <p:spPr bwMode="auto">
            <a:xfrm>
              <a:off x="4654" y="2525"/>
              <a:ext cx="115" cy="60"/>
            </a:xfrm>
            <a:custGeom>
              <a:avLst/>
              <a:gdLst>
                <a:gd name="T0" fmla="*/ 49 w 113"/>
                <a:gd name="T1" fmla="*/ 0 h 59"/>
                <a:gd name="T2" fmla="*/ 113 w 113"/>
                <a:gd name="T3" fmla="*/ 59 h 59"/>
                <a:gd name="T4" fmla="*/ 49 w 113"/>
                <a:gd name="T5" fmla="*/ 59 h 59"/>
                <a:gd name="T6" fmla="*/ 0 w 113"/>
                <a:gd name="T7" fmla="*/ 59 h 59"/>
                <a:gd name="T8" fmla="*/ 0 w 113"/>
                <a:gd name="T9" fmla="*/ 0 h 59"/>
                <a:gd name="T10" fmla="*/ 49 w 113"/>
                <a:gd name="T11" fmla="*/ 0 h 59"/>
              </a:gdLst>
              <a:ahLst/>
              <a:cxnLst>
                <a:cxn ang="0">
                  <a:pos x="T0" y="T1"/>
                </a:cxn>
                <a:cxn ang="0">
                  <a:pos x="T2" y="T3"/>
                </a:cxn>
                <a:cxn ang="0">
                  <a:pos x="T4" y="T5"/>
                </a:cxn>
                <a:cxn ang="0">
                  <a:pos x="T6" y="T7"/>
                </a:cxn>
                <a:cxn ang="0">
                  <a:pos x="T8" y="T9"/>
                </a:cxn>
                <a:cxn ang="0">
                  <a:pos x="T10" y="T11"/>
                </a:cxn>
              </a:cxnLst>
              <a:rect l="0" t="0" r="r" b="b"/>
              <a:pathLst>
                <a:path w="113" h="59">
                  <a:moveTo>
                    <a:pt x="49" y="0"/>
                  </a:moveTo>
                  <a:cubicBezTo>
                    <a:pt x="82" y="0"/>
                    <a:pt x="110" y="26"/>
                    <a:pt x="113" y="59"/>
                  </a:cubicBezTo>
                  <a:cubicBezTo>
                    <a:pt x="49" y="59"/>
                    <a:pt x="49" y="59"/>
                    <a:pt x="49" y="59"/>
                  </a:cubicBezTo>
                  <a:cubicBezTo>
                    <a:pt x="0" y="59"/>
                    <a:pt x="0" y="59"/>
                    <a:pt x="0" y="59"/>
                  </a:cubicBezTo>
                  <a:cubicBezTo>
                    <a:pt x="0" y="0"/>
                    <a:pt x="0" y="0"/>
                    <a:pt x="0" y="0"/>
                  </a:cubicBezTo>
                  <a:lnTo>
                    <a:pt x="49" y="0"/>
                  </a:lnTo>
                  <a:close/>
                </a:path>
              </a:pathLst>
            </a:custGeom>
            <a:solidFill>
              <a:srgbClr val="563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09" name="Freeform 12"/>
            <p:cNvSpPr>
              <a:spLocks/>
            </p:cNvSpPr>
            <p:nvPr/>
          </p:nvSpPr>
          <p:spPr bwMode="auto">
            <a:xfrm>
              <a:off x="4584" y="1719"/>
              <a:ext cx="332" cy="345"/>
            </a:xfrm>
            <a:custGeom>
              <a:avLst/>
              <a:gdLst>
                <a:gd name="T0" fmla="*/ 69 w 327"/>
                <a:gd name="T1" fmla="*/ 0 h 340"/>
                <a:gd name="T2" fmla="*/ 258 w 327"/>
                <a:gd name="T3" fmla="*/ 0 h 340"/>
                <a:gd name="T4" fmla="*/ 327 w 327"/>
                <a:gd name="T5" fmla="*/ 70 h 340"/>
                <a:gd name="T6" fmla="*/ 327 w 327"/>
                <a:gd name="T7" fmla="*/ 128 h 340"/>
                <a:gd name="T8" fmla="*/ 258 w 327"/>
                <a:gd name="T9" fmla="*/ 128 h 340"/>
                <a:gd name="T10" fmla="*/ 258 w 327"/>
                <a:gd name="T11" fmla="*/ 340 h 340"/>
                <a:gd name="T12" fmla="*/ 69 w 327"/>
                <a:gd name="T13" fmla="*/ 340 h 340"/>
                <a:gd name="T14" fmla="*/ 69 w 327"/>
                <a:gd name="T15" fmla="*/ 128 h 340"/>
                <a:gd name="T16" fmla="*/ 0 w 327"/>
                <a:gd name="T17" fmla="*/ 128 h 340"/>
                <a:gd name="T18" fmla="*/ 0 w 327"/>
                <a:gd name="T19" fmla="*/ 70 h 340"/>
                <a:gd name="T20" fmla="*/ 69 w 327"/>
                <a:gd name="T21"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7" h="340">
                  <a:moveTo>
                    <a:pt x="69" y="0"/>
                  </a:moveTo>
                  <a:cubicBezTo>
                    <a:pt x="258" y="0"/>
                    <a:pt x="258" y="0"/>
                    <a:pt x="258" y="0"/>
                  </a:cubicBezTo>
                  <a:cubicBezTo>
                    <a:pt x="296" y="0"/>
                    <a:pt x="327" y="32"/>
                    <a:pt x="327" y="70"/>
                  </a:cubicBezTo>
                  <a:cubicBezTo>
                    <a:pt x="327" y="128"/>
                    <a:pt x="327" y="128"/>
                    <a:pt x="327" y="128"/>
                  </a:cubicBezTo>
                  <a:cubicBezTo>
                    <a:pt x="258" y="128"/>
                    <a:pt x="258" y="128"/>
                    <a:pt x="258" y="128"/>
                  </a:cubicBezTo>
                  <a:cubicBezTo>
                    <a:pt x="258" y="340"/>
                    <a:pt x="258" y="340"/>
                    <a:pt x="258" y="340"/>
                  </a:cubicBezTo>
                  <a:cubicBezTo>
                    <a:pt x="69" y="340"/>
                    <a:pt x="69" y="340"/>
                    <a:pt x="69" y="340"/>
                  </a:cubicBezTo>
                  <a:cubicBezTo>
                    <a:pt x="69" y="128"/>
                    <a:pt x="69" y="128"/>
                    <a:pt x="69" y="128"/>
                  </a:cubicBezTo>
                  <a:cubicBezTo>
                    <a:pt x="0" y="128"/>
                    <a:pt x="0" y="128"/>
                    <a:pt x="0" y="128"/>
                  </a:cubicBezTo>
                  <a:cubicBezTo>
                    <a:pt x="0" y="70"/>
                    <a:pt x="0" y="70"/>
                    <a:pt x="0" y="70"/>
                  </a:cubicBezTo>
                  <a:cubicBezTo>
                    <a:pt x="0" y="32"/>
                    <a:pt x="31" y="0"/>
                    <a:pt x="69"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10" name="Freeform 13"/>
            <p:cNvSpPr>
              <a:spLocks/>
            </p:cNvSpPr>
            <p:nvPr/>
          </p:nvSpPr>
          <p:spPr bwMode="auto">
            <a:xfrm>
              <a:off x="4855" y="1849"/>
              <a:ext cx="119" cy="178"/>
            </a:xfrm>
            <a:custGeom>
              <a:avLst/>
              <a:gdLst>
                <a:gd name="T0" fmla="*/ 44 w 117"/>
                <a:gd name="T1" fmla="*/ 175 h 175"/>
                <a:gd name="T2" fmla="*/ 117 w 117"/>
                <a:gd name="T3" fmla="*/ 175 h 175"/>
                <a:gd name="T4" fmla="*/ 117 w 117"/>
                <a:gd name="T5" fmla="*/ 119 h 175"/>
                <a:gd name="T6" fmla="*/ 51 w 117"/>
                <a:gd name="T7" fmla="*/ 119 h 175"/>
                <a:gd name="T8" fmla="*/ 51 w 117"/>
                <a:gd name="T9" fmla="*/ 0 h 175"/>
                <a:gd name="T10" fmla="*/ 0 w 117"/>
                <a:gd name="T11" fmla="*/ 0 h 175"/>
                <a:gd name="T12" fmla="*/ 0 w 117"/>
                <a:gd name="T13" fmla="*/ 131 h 175"/>
                <a:gd name="T14" fmla="*/ 44 w 117"/>
                <a:gd name="T15" fmla="*/ 175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175">
                  <a:moveTo>
                    <a:pt x="44" y="175"/>
                  </a:moveTo>
                  <a:cubicBezTo>
                    <a:pt x="117" y="175"/>
                    <a:pt x="117" y="175"/>
                    <a:pt x="117" y="175"/>
                  </a:cubicBezTo>
                  <a:cubicBezTo>
                    <a:pt x="117" y="119"/>
                    <a:pt x="117" y="119"/>
                    <a:pt x="117" y="119"/>
                  </a:cubicBezTo>
                  <a:cubicBezTo>
                    <a:pt x="51" y="119"/>
                    <a:pt x="51" y="119"/>
                    <a:pt x="51" y="119"/>
                  </a:cubicBezTo>
                  <a:cubicBezTo>
                    <a:pt x="51" y="0"/>
                    <a:pt x="51" y="0"/>
                    <a:pt x="51" y="0"/>
                  </a:cubicBezTo>
                  <a:cubicBezTo>
                    <a:pt x="0" y="0"/>
                    <a:pt x="0" y="0"/>
                    <a:pt x="0" y="0"/>
                  </a:cubicBezTo>
                  <a:cubicBezTo>
                    <a:pt x="0" y="131"/>
                    <a:pt x="0" y="131"/>
                    <a:pt x="0" y="131"/>
                  </a:cubicBezTo>
                  <a:cubicBezTo>
                    <a:pt x="0" y="155"/>
                    <a:pt x="20" y="175"/>
                    <a:pt x="44" y="175"/>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11" name="Rectangle 110"/>
            <p:cNvSpPr>
              <a:spLocks noChangeArrowheads="1"/>
            </p:cNvSpPr>
            <p:nvPr/>
          </p:nvSpPr>
          <p:spPr bwMode="auto">
            <a:xfrm>
              <a:off x="4593" y="1849"/>
              <a:ext cx="52" cy="307"/>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12" name="Freeform 15"/>
            <p:cNvSpPr>
              <a:spLocks/>
            </p:cNvSpPr>
            <p:nvPr/>
          </p:nvSpPr>
          <p:spPr bwMode="auto">
            <a:xfrm>
              <a:off x="4593" y="2104"/>
              <a:ext cx="52" cy="103"/>
            </a:xfrm>
            <a:custGeom>
              <a:avLst/>
              <a:gdLst>
                <a:gd name="T0" fmla="*/ 51 w 51"/>
                <a:gd name="T1" fmla="*/ 0 h 102"/>
                <a:gd name="T2" fmla="*/ 51 w 51"/>
                <a:gd name="T3" fmla="*/ 102 h 102"/>
                <a:gd name="T4" fmla="*/ 0 w 51"/>
                <a:gd name="T5" fmla="*/ 51 h 102"/>
                <a:gd name="T6" fmla="*/ 51 w 51"/>
                <a:gd name="T7" fmla="*/ 0 h 102"/>
              </a:gdLst>
              <a:ahLst/>
              <a:cxnLst>
                <a:cxn ang="0">
                  <a:pos x="T0" y="T1"/>
                </a:cxn>
                <a:cxn ang="0">
                  <a:pos x="T2" y="T3"/>
                </a:cxn>
                <a:cxn ang="0">
                  <a:pos x="T4" y="T5"/>
                </a:cxn>
                <a:cxn ang="0">
                  <a:pos x="T6" y="T7"/>
                </a:cxn>
              </a:cxnLst>
              <a:rect l="0" t="0" r="r" b="b"/>
              <a:pathLst>
                <a:path w="51" h="102">
                  <a:moveTo>
                    <a:pt x="51" y="0"/>
                  </a:moveTo>
                  <a:cubicBezTo>
                    <a:pt x="51" y="102"/>
                    <a:pt x="51" y="102"/>
                    <a:pt x="51" y="102"/>
                  </a:cubicBezTo>
                  <a:cubicBezTo>
                    <a:pt x="22" y="102"/>
                    <a:pt x="0" y="79"/>
                    <a:pt x="0" y="51"/>
                  </a:cubicBezTo>
                  <a:cubicBezTo>
                    <a:pt x="0" y="23"/>
                    <a:pt x="22" y="0"/>
                    <a:pt x="51"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13" name="Freeform 16"/>
            <p:cNvSpPr>
              <a:spLocks/>
            </p:cNvSpPr>
            <p:nvPr/>
          </p:nvSpPr>
          <p:spPr bwMode="auto">
            <a:xfrm>
              <a:off x="4921" y="1974"/>
              <a:ext cx="105" cy="53"/>
            </a:xfrm>
            <a:custGeom>
              <a:avLst/>
              <a:gdLst>
                <a:gd name="T0" fmla="*/ 0 w 103"/>
                <a:gd name="T1" fmla="*/ 0 h 52"/>
                <a:gd name="T2" fmla="*/ 103 w 103"/>
                <a:gd name="T3" fmla="*/ 0 h 52"/>
                <a:gd name="T4" fmla="*/ 52 w 103"/>
                <a:gd name="T5" fmla="*/ 52 h 52"/>
                <a:gd name="T6" fmla="*/ 0 w 103"/>
                <a:gd name="T7" fmla="*/ 0 h 52"/>
              </a:gdLst>
              <a:ahLst/>
              <a:cxnLst>
                <a:cxn ang="0">
                  <a:pos x="T0" y="T1"/>
                </a:cxn>
                <a:cxn ang="0">
                  <a:pos x="T2" y="T3"/>
                </a:cxn>
                <a:cxn ang="0">
                  <a:pos x="T4" y="T5"/>
                </a:cxn>
                <a:cxn ang="0">
                  <a:pos x="T6" y="T7"/>
                </a:cxn>
              </a:cxnLst>
              <a:rect l="0" t="0" r="r" b="b"/>
              <a:pathLst>
                <a:path w="103" h="52">
                  <a:moveTo>
                    <a:pt x="0" y="0"/>
                  </a:moveTo>
                  <a:cubicBezTo>
                    <a:pt x="103" y="0"/>
                    <a:pt x="103" y="0"/>
                    <a:pt x="103" y="0"/>
                  </a:cubicBezTo>
                  <a:cubicBezTo>
                    <a:pt x="103" y="29"/>
                    <a:pt x="80" y="52"/>
                    <a:pt x="52" y="52"/>
                  </a:cubicBezTo>
                  <a:cubicBezTo>
                    <a:pt x="23" y="52"/>
                    <a:pt x="0" y="29"/>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14" name="Rectangle 113"/>
            <p:cNvSpPr>
              <a:spLocks noChangeArrowheads="1"/>
            </p:cNvSpPr>
            <p:nvPr/>
          </p:nvSpPr>
          <p:spPr bwMode="auto">
            <a:xfrm>
              <a:off x="4592" y="2091"/>
              <a:ext cx="53" cy="28"/>
            </a:xfrm>
            <a:prstGeom prst="rect">
              <a:avLst/>
            </a:prstGeom>
            <a:solidFill>
              <a:srgbClr val="002050">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15" name="Rectangle 114"/>
            <p:cNvSpPr>
              <a:spLocks noChangeArrowheads="1"/>
            </p:cNvSpPr>
            <p:nvPr/>
          </p:nvSpPr>
          <p:spPr bwMode="auto">
            <a:xfrm>
              <a:off x="4879" y="1951"/>
              <a:ext cx="228" cy="2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16" name="Freeform 19"/>
            <p:cNvSpPr>
              <a:spLocks/>
            </p:cNvSpPr>
            <p:nvPr/>
          </p:nvSpPr>
          <p:spPr bwMode="auto">
            <a:xfrm>
              <a:off x="4931" y="1835"/>
              <a:ext cx="239" cy="116"/>
            </a:xfrm>
            <a:custGeom>
              <a:avLst/>
              <a:gdLst>
                <a:gd name="T0" fmla="*/ 62 w 239"/>
                <a:gd name="T1" fmla="*/ 0 h 116"/>
                <a:gd name="T2" fmla="*/ 239 w 239"/>
                <a:gd name="T3" fmla="*/ 0 h 116"/>
                <a:gd name="T4" fmla="*/ 176 w 239"/>
                <a:gd name="T5" fmla="*/ 116 h 116"/>
                <a:gd name="T6" fmla="*/ 0 w 239"/>
                <a:gd name="T7" fmla="*/ 116 h 116"/>
                <a:gd name="T8" fmla="*/ 62 w 239"/>
                <a:gd name="T9" fmla="*/ 0 h 116"/>
              </a:gdLst>
              <a:ahLst/>
              <a:cxnLst>
                <a:cxn ang="0">
                  <a:pos x="T0" y="T1"/>
                </a:cxn>
                <a:cxn ang="0">
                  <a:pos x="T2" y="T3"/>
                </a:cxn>
                <a:cxn ang="0">
                  <a:pos x="T4" y="T5"/>
                </a:cxn>
                <a:cxn ang="0">
                  <a:pos x="T6" y="T7"/>
                </a:cxn>
                <a:cxn ang="0">
                  <a:pos x="T8" y="T9"/>
                </a:cxn>
              </a:cxnLst>
              <a:rect l="0" t="0" r="r" b="b"/>
              <a:pathLst>
                <a:path w="239" h="116">
                  <a:moveTo>
                    <a:pt x="62" y="0"/>
                  </a:moveTo>
                  <a:lnTo>
                    <a:pt x="239" y="0"/>
                  </a:lnTo>
                  <a:lnTo>
                    <a:pt x="176" y="116"/>
                  </a:lnTo>
                  <a:lnTo>
                    <a:pt x="0" y="116"/>
                  </a:lnTo>
                  <a:lnTo>
                    <a:pt x="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17" name="Rectangle 116"/>
            <p:cNvSpPr>
              <a:spLocks noChangeArrowheads="1"/>
            </p:cNvSpPr>
            <p:nvPr/>
          </p:nvSpPr>
          <p:spPr bwMode="auto">
            <a:xfrm>
              <a:off x="4879" y="1951"/>
              <a:ext cx="52" cy="2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18" name="Freeform 21"/>
            <p:cNvSpPr>
              <a:spLocks/>
            </p:cNvSpPr>
            <p:nvPr/>
          </p:nvSpPr>
          <p:spPr bwMode="auto">
            <a:xfrm>
              <a:off x="4719" y="1649"/>
              <a:ext cx="61" cy="101"/>
            </a:xfrm>
            <a:custGeom>
              <a:avLst/>
              <a:gdLst>
                <a:gd name="T0" fmla="*/ 31 w 61"/>
                <a:gd name="T1" fmla="*/ 101 h 101"/>
                <a:gd name="T2" fmla="*/ 61 w 61"/>
                <a:gd name="T3" fmla="*/ 70 h 101"/>
                <a:gd name="T4" fmla="*/ 61 w 61"/>
                <a:gd name="T5" fmla="*/ 0 h 101"/>
                <a:gd name="T6" fmla="*/ 0 w 61"/>
                <a:gd name="T7" fmla="*/ 0 h 101"/>
                <a:gd name="T8" fmla="*/ 0 w 61"/>
                <a:gd name="T9" fmla="*/ 70 h 101"/>
                <a:gd name="T10" fmla="*/ 31 w 61"/>
                <a:gd name="T11" fmla="*/ 101 h 101"/>
              </a:gdLst>
              <a:ahLst/>
              <a:cxnLst>
                <a:cxn ang="0">
                  <a:pos x="T0" y="T1"/>
                </a:cxn>
                <a:cxn ang="0">
                  <a:pos x="T2" y="T3"/>
                </a:cxn>
                <a:cxn ang="0">
                  <a:pos x="T4" y="T5"/>
                </a:cxn>
                <a:cxn ang="0">
                  <a:pos x="T6" y="T7"/>
                </a:cxn>
                <a:cxn ang="0">
                  <a:pos x="T8" y="T9"/>
                </a:cxn>
                <a:cxn ang="0">
                  <a:pos x="T10" y="T11"/>
                </a:cxn>
              </a:cxnLst>
              <a:rect l="0" t="0" r="r" b="b"/>
              <a:pathLst>
                <a:path w="61" h="101">
                  <a:moveTo>
                    <a:pt x="31" y="101"/>
                  </a:moveTo>
                  <a:lnTo>
                    <a:pt x="61" y="70"/>
                  </a:lnTo>
                  <a:lnTo>
                    <a:pt x="61" y="0"/>
                  </a:lnTo>
                  <a:lnTo>
                    <a:pt x="0" y="0"/>
                  </a:lnTo>
                  <a:lnTo>
                    <a:pt x="0" y="70"/>
                  </a:lnTo>
                  <a:lnTo>
                    <a:pt x="31" y="101"/>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19" name="Freeform 22"/>
            <p:cNvSpPr>
              <a:spLocks/>
            </p:cNvSpPr>
            <p:nvPr/>
          </p:nvSpPr>
          <p:spPr bwMode="auto">
            <a:xfrm>
              <a:off x="4719" y="1649"/>
              <a:ext cx="61" cy="53"/>
            </a:xfrm>
            <a:custGeom>
              <a:avLst/>
              <a:gdLst>
                <a:gd name="T0" fmla="*/ 60 w 60"/>
                <a:gd name="T1" fmla="*/ 48 h 52"/>
                <a:gd name="T2" fmla="*/ 31 w 60"/>
                <a:gd name="T3" fmla="*/ 52 h 52"/>
                <a:gd name="T4" fmla="*/ 0 w 60"/>
                <a:gd name="T5" fmla="*/ 48 h 52"/>
                <a:gd name="T6" fmla="*/ 0 w 60"/>
                <a:gd name="T7" fmla="*/ 0 h 52"/>
                <a:gd name="T8" fmla="*/ 60 w 60"/>
                <a:gd name="T9" fmla="*/ 0 h 52"/>
                <a:gd name="T10" fmla="*/ 60 w 60"/>
                <a:gd name="T11" fmla="*/ 48 h 52"/>
              </a:gdLst>
              <a:ahLst/>
              <a:cxnLst>
                <a:cxn ang="0">
                  <a:pos x="T0" y="T1"/>
                </a:cxn>
                <a:cxn ang="0">
                  <a:pos x="T2" y="T3"/>
                </a:cxn>
                <a:cxn ang="0">
                  <a:pos x="T4" y="T5"/>
                </a:cxn>
                <a:cxn ang="0">
                  <a:pos x="T6" y="T7"/>
                </a:cxn>
                <a:cxn ang="0">
                  <a:pos x="T8" y="T9"/>
                </a:cxn>
                <a:cxn ang="0">
                  <a:pos x="T10" y="T11"/>
                </a:cxn>
              </a:cxnLst>
              <a:rect l="0" t="0" r="r" b="b"/>
              <a:pathLst>
                <a:path w="60" h="52">
                  <a:moveTo>
                    <a:pt x="60" y="48"/>
                  </a:moveTo>
                  <a:cubicBezTo>
                    <a:pt x="51" y="51"/>
                    <a:pt x="41" y="52"/>
                    <a:pt x="31" y="52"/>
                  </a:cubicBezTo>
                  <a:cubicBezTo>
                    <a:pt x="20" y="52"/>
                    <a:pt x="10" y="51"/>
                    <a:pt x="0" y="48"/>
                  </a:cubicBezTo>
                  <a:cubicBezTo>
                    <a:pt x="0" y="0"/>
                    <a:pt x="0" y="0"/>
                    <a:pt x="0" y="0"/>
                  </a:cubicBezTo>
                  <a:cubicBezTo>
                    <a:pt x="60" y="0"/>
                    <a:pt x="60" y="0"/>
                    <a:pt x="60" y="0"/>
                  </a:cubicBezTo>
                  <a:lnTo>
                    <a:pt x="60" y="48"/>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20" name="Freeform 23"/>
            <p:cNvSpPr>
              <a:spLocks/>
            </p:cNvSpPr>
            <p:nvPr/>
          </p:nvSpPr>
          <p:spPr bwMode="auto">
            <a:xfrm>
              <a:off x="4679" y="1555"/>
              <a:ext cx="143" cy="136"/>
            </a:xfrm>
            <a:custGeom>
              <a:avLst/>
              <a:gdLst>
                <a:gd name="T0" fmla="*/ 141 w 141"/>
                <a:gd name="T1" fmla="*/ 0 h 134"/>
                <a:gd name="T2" fmla="*/ 141 w 141"/>
                <a:gd name="T3" fmla="*/ 110 h 134"/>
                <a:gd name="T4" fmla="*/ 140 w 141"/>
                <a:gd name="T5" fmla="*/ 110 h 134"/>
                <a:gd name="T6" fmla="*/ 71 w 141"/>
                <a:gd name="T7" fmla="*/ 134 h 134"/>
                <a:gd name="T8" fmla="*/ 0 w 141"/>
                <a:gd name="T9" fmla="*/ 110 h 134"/>
                <a:gd name="T10" fmla="*/ 0 w 141"/>
                <a:gd name="T11" fmla="*/ 0 h 134"/>
                <a:gd name="T12" fmla="*/ 141 w 141"/>
                <a:gd name="T13" fmla="*/ 0 h 134"/>
              </a:gdLst>
              <a:ahLst/>
              <a:cxnLst>
                <a:cxn ang="0">
                  <a:pos x="T0" y="T1"/>
                </a:cxn>
                <a:cxn ang="0">
                  <a:pos x="T2" y="T3"/>
                </a:cxn>
                <a:cxn ang="0">
                  <a:pos x="T4" y="T5"/>
                </a:cxn>
                <a:cxn ang="0">
                  <a:pos x="T6" y="T7"/>
                </a:cxn>
                <a:cxn ang="0">
                  <a:pos x="T8" y="T9"/>
                </a:cxn>
                <a:cxn ang="0">
                  <a:pos x="T10" y="T11"/>
                </a:cxn>
                <a:cxn ang="0">
                  <a:pos x="T12" y="T13"/>
                </a:cxn>
              </a:cxnLst>
              <a:rect l="0" t="0" r="r" b="b"/>
              <a:pathLst>
                <a:path w="141" h="134">
                  <a:moveTo>
                    <a:pt x="141" y="0"/>
                  </a:moveTo>
                  <a:cubicBezTo>
                    <a:pt x="141" y="110"/>
                    <a:pt x="141" y="110"/>
                    <a:pt x="141" y="110"/>
                  </a:cubicBezTo>
                  <a:cubicBezTo>
                    <a:pt x="140" y="110"/>
                    <a:pt x="140" y="110"/>
                    <a:pt x="140" y="110"/>
                  </a:cubicBezTo>
                  <a:cubicBezTo>
                    <a:pt x="121" y="125"/>
                    <a:pt x="97" y="134"/>
                    <a:pt x="71" y="134"/>
                  </a:cubicBezTo>
                  <a:cubicBezTo>
                    <a:pt x="45" y="134"/>
                    <a:pt x="19" y="125"/>
                    <a:pt x="0" y="110"/>
                  </a:cubicBezTo>
                  <a:cubicBezTo>
                    <a:pt x="0" y="0"/>
                    <a:pt x="0" y="0"/>
                    <a:pt x="0" y="0"/>
                  </a:cubicBezTo>
                  <a:lnTo>
                    <a:pt x="141"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21" name="Rectangle 120"/>
            <p:cNvSpPr>
              <a:spLocks noChangeArrowheads="1"/>
            </p:cNvSpPr>
            <p:nvPr/>
          </p:nvSpPr>
          <p:spPr bwMode="auto">
            <a:xfrm>
              <a:off x="4593" y="1849"/>
              <a:ext cx="52" cy="15"/>
            </a:xfrm>
            <a:prstGeom prst="rect">
              <a:avLst/>
            </a:prstGeom>
            <a:solidFill>
              <a:srgbClr val="C398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22" name="Rectangle 121"/>
            <p:cNvSpPr>
              <a:spLocks noChangeArrowheads="1"/>
            </p:cNvSpPr>
            <p:nvPr/>
          </p:nvSpPr>
          <p:spPr bwMode="auto">
            <a:xfrm>
              <a:off x="4855" y="1849"/>
              <a:ext cx="52" cy="15"/>
            </a:xfrm>
            <a:prstGeom prst="rect">
              <a:avLst/>
            </a:prstGeom>
            <a:solidFill>
              <a:srgbClr val="C398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23" name="Rectangle 122"/>
            <p:cNvSpPr>
              <a:spLocks noChangeArrowheads="1"/>
            </p:cNvSpPr>
            <p:nvPr/>
          </p:nvSpPr>
          <p:spPr bwMode="auto">
            <a:xfrm>
              <a:off x="4811" y="1546"/>
              <a:ext cx="11" cy="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24" name="Rectangle 123"/>
            <p:cNvSpPr>
              <a:spLocks noChangeArrowheads="1"/>
            </p:cNvSpPr>
            <p:nvPr/>
          </p:nvSpPr>
          <p:spPr bwMode="auto">
            <a:xfrm>
              <a:off x="4679" y="1546"/>
              <a:ext cx="11" cy="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25" name="Oval 124"/>
            <p:cNvSpPr>
              <a:spLocks noChangeArrowheads="1"/>
            </p:cNvSpPr>
            <p:nvPr/>
          </p:nvSpPr>
          <p:spPr bwMode="auto">
            <a:xfrm>
              <a:off x="4706" y="1597"/>
              <a:ext cx="11" cy="11"/>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26" name="Oval 125"/>
            <p:cNvSpPr>
              <a:spLocks noChangeArrowheads="1"/>
            </p:cNvSpPr>
            <p:nvPr/>
          </p:nvSpPr>
          <p:spPr bwMode="auto">
            <a:xfrm>
              <a:off x="4783" y="1597"/>
              <a:ext cx="11" cy="11"/>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27" name="Freeform 30"/>
            <p:cNvSpPr>
              <a:spLocks/>
            </p:cNvSpPr>
            <p:nvPr/>
          </p:nvSpPr>
          <p:spPr bwMode="auto">
            <a:xfrm>
              <a:off x="4740" y="1629"/>
              <a:ext cx="20" cy="9"/>
            </a:xfrm>
            <a:custGeom>
              <a:avLst/>
              <a:gdLst>
                <a:gd name="T0" fmla="*/ 9 w 19"/>
                <a:gd name="T1" fmla="*/ 9 h 9"/>
                <a:gd name="T2" fmla="*/ 19 w 19"/>
                <a:gd name="T3" fmla="*/ 0 h 9"/>
                <a:gd name="T4" fmla="*/ 0 w 19"/>
                <a:gd name="T5" fmla="*/ 0 h 9"/>
                <a:gd name="T6" fmla="*/ 9 w 19"/>
                <a:gd name="T7" fmla="*/ 9 h 9"/>
              </a:gdLst>
              <a:ahLst/>
              <a:cxnLst>
                <a:cxn ang="0">
                  <a:pos x="T0" y="T1"/>
                </a:cxn>
                <a:cxn ang="0">
                  <a:pos x="T2" y="T3"/>
                </a:cxn>
                <a:cxn ang="0">
                  <a:pos x="T4" y="T5"/>
                </a:cxn>
                <a:cxn ang="0">
                  <a:pos x="T6" y="T7"/>
                </a:cxn>
              </a:cxnLst>
              <a:rect l="0" t="0" r="r" b="b"/>
              <a:pathLst>
                <a:path w="19" h="9">
                  <a:moveTo>
                    <a:pt x="9" y="9"/>
                  </a:moveTo>
                  <a:cubicBezTo>
                    <a:pt x="15" y="9"/>
                    <a:pt x="19" y="5"/>
                    <a:pt x="19" y="0"/>
                  </a:cubicBezTo>
                  <a:cubicBezTo>
                    <a:pt x="0" y="0"/>
                    <a:pt x="0" y="0"/>
                    <a:pt x="0" y="0"/>
                  </a:cubicBezTo>
                  <a:cubicBezTo>
                    <a:pt x="0" y="5"/>
                    <a:pt x="4" y="9"/>
                    <a:pt x="9" y="9"/>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28" name="Freeform 31"/>
            <p:cNvSpPr>
              <a:spLocks/>
            </p:cNvSpPr>
            <p:nvPr/>
          </p:nvSpPr>
          <p:spPr bwMode="auto">
            <a:xfrm>
              <a:off x="4729" y="1662"/>
              <a:ext cx="42" cy="12"/>
            </a:xfrm>
            <a:custGeom>
              <a:avLst/>
              <a:gdLst>
                <a:gd name="T0" fmla="*/ 41 w 41"/>
                <a:gd name="T1" fmla="*/ 6 h 12"/>
                <a:gd name="T2" fmla="*/ 36 w 41"/>
                <a:gd name="T3" fmla="*/ 12 h 12"/>
                <a:gd name="T4" fmla="*/ 5 w 41"/>
                <a:gd name="T5" fmla="*/ 12 h 12"/>
                <a:gd name="T6" fmla="*/ 0 w 41"/>
                <a:gd name="T7" fmla="*/ 6 h 12"/>
                <a:gd name="T8" fmla="*/ 0 w 41"/>
                <a:gd name="T9" fmla="*/ 6 h 12"/>
                <a:gd name="T10" fmla="*/ 5 w 41"/>
                <a:gd name="T11" fmla="*/ 0 h 12"/>
                <a:gd name="T12" fmla="*/ 36 w 41"/>
                <a:gd name="T13" fmla="*/ 0 h 12"/>
                <a:gd name="T14" fmla="*/ 41 w 41"/>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2">
                  <a:moveTo>
                    <a:pt x="41" y="6"/>
                  </a:moveTo>
                  <a:cubicBezTo>
                    <a:pt x="41" y="9"/>
                    <a:pt x="39" y="12"/>
                    <a:pt x="36" y="12"/>
                  </a:cubicBezTo>
                  <a:cubicBezTo>
                    <a:pt x="5" y="12"/>
                    <a:pt x="5" y="12"/>
                    <a:pt x="5" y="12"/>
                  </a:cubicBezTo>
                  <a:cubicBezTo>
                    <a:pt x="2" y="12"/>
                    <a:pt x="0" y="9"/>
                    <a:pt x="0" y="6"/>
                  </a:cubicBezTo>
                  <a:cubicBezTo>
                    <a:pt x="0" y="6"/>
                    <a:pt x="0" y="6"/>
                    <a:pt x="0" y="6"/>
                  </a:cubicBezTo>
                  <a:cubicBezTo>
                    <a:pt x="0" y="3"/>
                    <a:pt x="2" y="0"/>
                    <a:pt x="5" y="0"/>
                  </a:cubicBezTo>
                  <a:cubicBezTo>
                    <a:pt x="36" y="0"/>
                    <a:pt x="36" y="0"/>
                    <a:pt x="36" y="0"/>
                  </a:cubicBezTo>
                  <a:cubicBezTo>
                    <a:pt x="39" y="0"/>
                    <a:pt x="41" y="3"/>
                    <a:pt x="41" y="6"/>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sp>
          <p:nvSpPr>
            <p:cNvPr id="129" name="Freeform 32"/>
            <p:cNvSpPr>
              <a:spLocks noEditPoints="1"/>
            </p:cNvSpPr>
            <p:nvPr/>
          </p:nvSpPr>
          <p:spPr bwMode="auto">
            <a:xfrm>
              <a:off x="4711" y="1638"/>
              <a:ext cx="78" cy="70"/>
            </a:xfrm>
            <a:custGeom>
              <a:avLst/>
              <a:gdLst>
                <a:gd name="T0" fmla="*/ 38 w 77"/>
                <a:gd name="T1" fmla="*/ 0 h 69"/>
                <a:gd name="T2" fmla="*/ 0 w 77"/>
                <a:gd name="T3" fmla="*/ 39 h 69"/>
                <a:gd name="T4" fmla="*/ 0 w 77"/>
                <a:gd name="T5" fmla="*/ 60 h 69"/>
                <a:gd name="T6" fmla="*/ 0 w 77"/>
                <a:gd name="T7" fmla="*/ 63 h 69"/>
                <a:gd name="T8" fmla="*/ 39 w 77"/>
                <a:gd name="T9" fmla="*/ 69 h 69"/>
                <a:gd name="T10" fmla="*/ 77 w 77"/>
                <a:gd name="T11" fmla="*/ 63 h 69"/>
                <a:gd name="T12" fmla="*/ 77 w 77"/>
                <a:gd name="T13" fmla="*/ 60 h 69"/>
                <a:gd name="T14" fmla="*/ 77 w 77"/>
                <a:gd name="T15" fmla="*/ 39 h 69"/>
                <a:gd name="T16" fmla="*/ 38 w 77"/>
                <a:gd name="T17" fmla="*/ 0 h 69"/>
                <a:gd name="T18" fmla="*/ 61 w 77"/>
                <a:gd name="T19" fmla="*/ 45 h 69"/>
                <a:gd name="T20" fmla="*/ 45 w 77"/>
                <a:gd name="T21" fmla="*/ 48 h 69"/>
                <a:gd name="T22" fmla="*/ 45 w 77"/>
                <a:gd name="T23" fmla="*/ 35 h 69"/>
                <a:gd name="T24" fmla="*/ 32 w 77"/>
                <a:gd name="T25" fmla="*/ 35 h 69"/>
                <a:gd name="T26" fmla="*/ 32 w 77"/>
                <a:gd name="T27" fmla="*/ 48 h 69"/>
                <a:gd name="T28" fmla="*/ 15 w 77"/>
                <a:gd name="T29" fmla="*/ 45 h 69"/>
                <a:gd name="T30" fmla="*/ 15 w 77"/>
                <a:gd name="T31" fmla="*/ 37 h 69"/>
                <a:gd name="T32" fmla="*/ 38 w 77"/>
                <a:gd name="T33" fmla="*/ 24 h 69"/>
                <a:gd name="T34" fmla="*/ 62 w 77"/>
                <a:gd name="T35" fmla="*/ 37 h 69"/>
                <a:gd name="T36" fmla="*/ 61 w 77"/>
                <a:gd name="T37" fmla="*/ 4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69">
                  <a:moveTo>
                    <a:pt x="38" y="0"/>
                  </a:moveTo>
                  <a:cubicBezTo>
                    <a:pt x="17" y="0"/>
                    <a:pt x="0" y="18"/>
                    <a:pt x="0" y="39"/>
                  </a:cubicBezTo>
                  <a:cubicBezTo>
                    <a:pt x="0" y="60"/>
                    <a:pt x="0" y="60"/>
                    <a:pt x="0" y="60"/>
                  </a:cubicBezTo>
                  <a:cubicBezTo>
                    <a:pt x="0" y="61"/>
                    <a:pt x="0" y="62"/>
                    <a:pt x="0" y="63"/>
                  </a:cubicBezTo>
                  <a:cubicBezTo>
                    <a:pt x="13" y="67"/>
                    <a:pt x="25" y="69"/>
                    <a:pt x="39" y="69"/>
                  </a:cubicBezTo>
                  <a:cubicBezTo>
                    <a:pt x="52" y="69"/>
                    <a:pt x="65" y="67"/>
                    <a:pt x="77" y="63"/>
                  </a:cubicBezTo>
                  <a:cubicBezTo>
                    <a:pt x="77" y="62"/>
                    <a:pt x="77" y="61"/>
                    <a:pt x="77" y="60"/>
                  </a:cubicBezTo>
                  <a:cubicBezTo>
                    <a:pt x="77" y="39"/>
                    <a:pt x="77" y="39"/>
                    <a:pt x="77" y="39"/>
                  </a:cubicBezTo>
                  <a:cubicBezTo>
                    <a:pt x="77" y="18"/>
                    <a:pt x="60" y="0"/>
                    <a:pt x="38" y="0"/>
                  </a:cubicBezTo>
                  <a:close/>
                  <a:moveTo>
                    <a:pt x="61" y="45"/>
                  </a:moveTo>
                  <a:cubicBezTo>
                    <a:pt x="56" y="46"/>
                    <a:pt x="50" y="47"/>
                    <a:pt x="45" y="48"/>
                  </a:cubicBezTo>
                  <a:cubicBezTo>
                    <a:pt x="45" y="35"/>
                    <a:pt x="45" y="35"/>
                    <a:pt x="45" y="35"/>
                  </a:cubicBezTo>
                  <a:cubicBezTo>
                    <a:pt x="32" y="35"/>
                    <a:pt x="32" y="35"/>
                    <a:pt x="32" y="35"/>
                  </a:cubicBezTo>
                  <a:cubicBezTo>
                    <a:pt x="32" y="48"/>
                    <a:pt x="32" y="48"/>
                    <a:pt x="32" y="48"/>
                  </a:cubicBezTo>
                  <a:cubicBezTo>
                    <a:pt x="27" y="47"/>
                    <a:pt x="21" y="46"/>
                    <a:pt x="15" y="45"/>
                  </a:cubicBezTo>
                  <a:cubicBezTo>
                    <a:pt x="15" y="44"/>
                    <a:pt x="15" y="37"/>
                    <a:pt x="15" y="37"/>
                  </a:cubicBezTo>
                  <a:cubicBezTo>
                    <a:pt x="15" y="24"/>
                    <a:pt x="26" y="24"/>
                    <a:pt x="38" y="24"/>
                  </a:cubicBezTo>
                  <a:cubicBezTo>
                    <a:pt x="51" y="24"/>
                    <a:pt x="62" y="24"/>
                    <a:pt x="62" y="37"/>
                  </a:cubicBezTo>
                  <a:cubicBezTo>
                    <a:pt x="62" y="37"/>
                    <a:pt x="61" y="44"/>
                    <a:pt x="61"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panose="020F0502020204030204"/>
              </a:endParaRPr>
            </a:p>
          </p:txBody>
        </p:sp>
      </p:grpSp>
      <p:sp>
        <p:nvSpPr>
          <p:cNvPr id="130" name="Speech Bubble: Rectangle with Corners Rounded 129"/>
          <p:cNvSpPr/>
          <p:nvPr/>
        </p:nvSpPr>
        <p:spPr>
          <a:xfrm>
            <a:off x="1041771" y="2049836"/>
            <a:ext cx="3019150" cy="2060282"/>
          </a:xfrm>
          <a:prstGeom prst="wedgeRoundRectCallout">
            <a:avLst>
              <a:gd name="adj1" fmla="val -59241"/>
              <a:gd name="adj2" fmla="val 40242"/>
              <a:gd name="adj3" fmla="val 16667"/>
            </a:avLst>
          </a:prstGeom>
          <a:solidFill>
            <a:srgbClr val="FFFFFF">
              <a:lumMod val="95000"/>
            </a:srgbClr>
          </a:solidFill>
          <a:ln w="10795" cap="flat" cmpd="sng" algn="ctr">
            <a:noFill/>
            <a:prstDash val="solid"/>
          </a:ln>
          <a:effectLst/>
        </p:spPr>
        <p:txBody>
          <a:bodyPr rtlCol="0" anchor="t"/>
          <a:lstStyle/>
          <a:p>
            <a:pPr defTabSz="914225">
              <a:defRPr/>
            </a:pPr>
            <a:endParaRPr lang="en-US" sz="2000" kern="0" dirty="0">
              <a:solidFill>
                <a:prstClr val="white"/>
              </a:solidFill>
              <a:latin typeface="Calibri" panose="020F0502020204030204"/>
            </a:endParaRPr>
          </a:p>
        </p:txBody>
      </p:sp>
      <p:sp>
        <p:nvSpPr>
          <p:cNvPr id="131" name="TextBox 130"/>
          <p:cNvSpPr txBox="1"/>
          <p:nvPr/>
        </p:nvSpPr>
        <p:spPr>
          <a:xfrm>
            <a:off x="1134183" y="2312803"/>
            <a:ext cx="3116972" cy="1504686"/>
          </a:xfrm>
          <a:prstGeom prst="rect">
            <a:avLst/>
          </a:prstGeom>
          <a:noFill/>
        </p:spPr>
        <p:txBody>
          <a:bodyPr wrap="square" rtlCol="0">
            <a:spAutoFit/>
          </a:bodyPr>
          <a:lstStyle/>
          <a:p>
            <a:pPr defTabSz="914225">
              <a:defRPr/>
            </a:pPr>
            <a:r>
              <a:rPr lang="en-US" kern="0" dirty="0">
                <a:solidFill>
                  <a:srgbClr val="002060"/>
                </a:solidFill>
                <a:latin typeface="Segoe UI Light" panose="020B0502040204020203" pitchFamily="34" charset="0"/>
                <a:cs typeface="Segoe UI Light" panose="020B0502040204020203" pitchFamily="34" charset="0"/>
              </a:rPr>
              <a:t>40,000 databases, across</a:t>
            </a:r>
          </a:p>
          <a:p>
            <a:pPr defTabSz="914225">
              <a:defRPr/>
            </a:pPr>
            <a:r>
              <a:rPr lang="en-US" kern="0" dirty="0">
                <a:solidFill>
                  <a:srgbClr val="002060"/>
                </a:solidFill>
                <a:latin typeface="Segoe UI Light" panose="020B0502040204020203" pitchFamily="34" charset="0"/>
                <a:cs typeface="Segoe UI Light" panose="020B0502040204020203" pitchFamily="34" charset="0"/>
              </a:rPr>
              <a:t>15,000 SQL Server instances</a:t>
            </a:r>
          </a:p>
          <a:p>
            <a:pPr defTabSz="914225">
              <a:defRPr/>
            </a:pPr>
            <a:endParaRPr lang="en-US" kern="0" dirty="0">
              <a:solidFill>
                <a:srgbClr val="002060"/>
              </a:solidFill>
              <a:latin typeface="Segoe UI Light" panose="020B0502040204020203" pitchFamily="34" charset="0"/>
              <a:cs typeface="Segoe UI Light" panose="020B0502040204020203" pitchFamily="34" charset="0"/>
            </a:endParaRPr>
          </a:p>
          <a:p>
            <a:pPr defTabSz="914225">
              <a:defRPr/>
            </a:pPr>
            <a:r>
              <a:rPr lang="en-US" kern="0" dirty="0">
                <a:solidFill>
                  <a:srgbClr val="002060"/>
                </a:solidFill>
                <a:latin typeface="Segoe UI Light" panose="020B0502040204020203" pitchFamily="34" charset="0"/>
                <a:cs typeface="Segoe UI Light" panose="020B0502040204020203" pitchFamily="34" charset="0"/>
              </a:rPr>
              <a:t>GOAL: Reduce costs and demands on IT</a:t>
            </a:r>
          </a:p>
        </p:txBody>
      </p:sp>
      <p:grpSp>
        <p:nvGrpSpPr>
          <p:cNvPr id="213" name="Group 212"/>
          <p:cNvGrpSpPr/>
          <p:nvPr/>
        </p:nvGrpSpPr>
        <p:grpSpPr>
          <a:xfrm>
            <a:off x="4504065" y="1633794"/>
            <a:ext cx="2893434" cy="2265872"/>
            <a:chOff x="4503839" y="1633538"/>
            <a:chExt cx="2893844" cy="2266193"/>
          </a:xfrm>
        </p:grpSpPr>
        <p:sp>
          <p:nvSpPr>
            <p:cNvPr id="133" name="Freeform 144"/>
            <p:cNvSpPr/>
            <p:nvPr/>
          </p:nvSpPr>
          <p:spPr>
            <a:xfrm>
              <a:off x="5702111" y="2483893"/>
              <a:ext cx="402567" cy="82016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2">
                <a:lumMod val="40000"/>
                <a:lumOff val="60000"/>
              </a:schemeClr>
            </a:solidFill>
            <a:ln w="9525" cap="flat" cmpd="sng" algn="ctr">
              <a:noFill/>
              <a:prstDash val="solid"/>
            </a:ln>
            <a:effectLst/>
          </p:spPr>
          <p:txBody>
            <a:bodyPr vert="horz" wrap="square" lIns="89626" tIns="44812" rIns="89626" bIns="44812" numCol="1" rtlCol="0" anchor="ctr" anchorCtr="0" compatLnSpc="1">
              <a:prstTxWarp prst="textNoShape">
                <a:avLst/>
              </a:prstTxWarp>
            </a:bodyPr>
            <a:lstStyle/>
            <a:p>
              <a:pPr algn="ctr" defTabSz="895919" fontAlgn="base">
                <a:spcBef>
                  <a:spcPct val="0"/>
                </a:spcBef>
                <a:spcAft>
                  <a:spcPct val="0"/>
                </a:spcAft>
                <a:defRPr/>
              </a:pPr>
              <a:endParaRPr lang="en-US" sz="2157" kern="0" dirty="0">
                <a:gradFill>
                  <a:gsLst>
                    <a:gs pos="0">
                      <a:srgbClr val="FFFFFF"/>
                    </a:gs>
                    <a:gs pos="100000">
                      <a:srgbClr val="FFFFFF"/>
                    </a:gs>
                  </a:gsLst>
                  <a:lin ang="5400000" scaled="0"/>
                </a:gradFill>
                <a:latin typeface="Segoe UI"/>
              </a:endParaRPr>
            </a:p>
          </p:txBody>
        </p:sp>
        <p:sp>
          <p:nvSpPr>
            <p:cNvPr id="134" name="Freeform 144"/>
            <p:cNvSpPr/>
            <p:nvPr/>
          </p:nvSpPr>
          <p:spPr>
            <a:xfrm>
              <a:off x="5361653" y="2581001"/>
              <a:ext cx="402567" cy="82016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2">
                <a:lumMod val="40000"/>
                <a:lumOff val="60000"/>
              </a:schemeClr>
            </a:solidFill>
            <a:ln w="9525" cap="flat" cmpd="sng" algn="ctr">
              <a:noFill/>
              <a:prstDash val="solid"/>
            </a:ln>
            <a:effectLst/>
          </p:spPr>
          <p:txBody>
            <a:bodyPr vert="horz" wrap="square" lIns="89626" tIns="44812" rIns="89626" bIns="44812" numCol="1" rtlCol="0" anchor="ctr" anchorCtr="0" compatLnSpc="1">
              <a:prstTxWarp prst="textNoShape">
                <a:avLst/>
              </a:prstTxWarp>
            </a:bodyPr>
            <a:lstStyle/>
            <a:p>
              <a:pPr algn="ctr" defTabSz="895919" fontAlgn="base">
                <a:spcBef>
                  <a:spcPct val="0"/>
                </a:spcBef>
                <a:spcAft>
                  <a:spcPct val="0"/>
                </a:spcAft>
                <a:defRPr/>
              </a:pPr>
              <a:endParaRPr lang="en-US" sz="2157" kern="0" dirty="0">
                <a:gradFill>
                  <a:gsLst>
                    <a:gs pos="0">
                      <a:srgbClr val="FFFFFF"/>
                    </a:gs>
                    <a:gs pos="100000">
                      <a:srgbClr val="FFFFFF"/>
                    </a:gs>
                  </a:gsLst>
                  <a:lin ang="5400000" scaled="0"/>
                </a:gradFill>
                <a:latin typeface="Segoe UI"/>
              </a:endParaRPr>
            </a:p>
          </p:txBody>
        </p:sp>
        <p:sp>
          <p:nvSpPr>
            <p:cNvPr id="135" name="Freeform 144"/>
            <p:cNvSpPr/>
            <p:nvPr/>
          </p:nvSpPr>
          <p:spPr>
            <a:xfrm>
              <a:off x="5008259" y="2694608"/>
              <a:ext cx="402567" cy="82016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2">
                <a:lumMod val="40000"/>
                <a:lumOff val="60000"/>
              </a:schemeClr>
            </a:solidFill>
            <a:ln w="9525" cap="flat" cmpd="sng" algn="ctr">
              <a:noFill/>
              <a:prstDash val="solid"/>
            </a:ln>
            <a:effectLst/>
          </p:spPr>
          <p:txBody>
            <a:bodyPr vert="horz" wrap="square" lIns="89626" tIns="44812" rIns="89626" bIns="44812" numCol="1" rtlCol="0" anchor="ctr" anchorCtr="0" compatLnSpc="1">
              <a:prstTxWarp prst="textNoShape">
                <a:avLst/>
              </a:prstTxWarp>
            </a:bodyPr>
            <a:lstStyle/>
            <a:p>
              <a:pPr algn="ctr" defTabSz="895919" fontAlgn="base">
                <a:spcBef>
                  <a:spcPct val="0"/>
                </a:spcBef>
                <a:spcAft>
                  <a:spcPct val="0"/>
                </a:spcAft>
                <a:defRPr/>
              </a:pPr>
              <a:endParaRPr lang="en-US" sz="2157" kern="0" dirty="0">
                <a:gradFill>
                  <a:gsLst>
                    <a:gs pos="0">
                      <a:srgbClr val="FFFFFF"/>
                    </a:gs>
                    <a:gs pos="100000">
                      <a:srgbClr val="FFFFFF"/>
                    </a:gs>
                  </a:gsLst>
                  <a:lin ang="5400000" scaled="0"/>
                </a:gradFill>
                <a:latin typeface="Segoe UI"/>
              </a:endParaRPr>
            </a:p>
          </p:txBody>
        </p:sp>
        <p:grpSp>
          <p:nvGrpSpPr>
            <p:cNvPr id="136" name="Group 135"/>
            <p:cNvGrpSpPr/>
            <p:nvPr/>
          </p:nvGrpSpPr>
          <p:grpSpPr>
            <a:xfrm>
              <a:off x="5560915" y="2863162"/>
              <a:ext cx="558554" cy="444680"/>
              <a:chOff x="7503805" y="5667309"/>
              <a:chExt cx="445159" cy="324804"/>
            </a:xfrm>
            <a:solidFill>
              <a:schemeClr val="accent2">
                <a:lumMod val="40000"/>
                <a:lumOff val="60000"/>
              </a:schemeClr>
            </a:solidFill>
          </p:grpSpPr>
          <p:sp>
            <p:nvSpPr>
              <p:cNvPr id="163" name="Flowchart: Magnetic Disk 162"/>
              <p:cNvSpPr/>
              <p:nvPr>
                <p:custDataLst>
                  <p:tags r:id="rId32"/>
                </p:custDataLst>
              </p:nvPr>
            </p:nvSpPr>
            <p:spPr>
              <a:xfrm>
                <a:off x="7503805" y="5755518"/>
                <a:ext cx="177267" cy="176416"/>
              </a:xfrm>
              <a:prstGeom prst="flowChartMagneticDisk">
                <a:avLst/>
              </a:prstGeom>
              <a:grpFill/>
              <a:ln w="3175" cap="flat" cmpd="sng" algn="ctr">
                <a:solidFill>
                  <a:schemeClr val="accent2"/>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64" name="Flowchart: Magnetic Disk 163"/>
              <p:cNvSpPr/>
              <p:nvPr>
                <p:custDataLst>
                  <p:tags r:id="rId33"/>
                </p:custDataLst>
              </p:nvPr>
            </p:nvSpPr>
            <p:spPr>
              <a:xfrm>
                <a:off x="7683064" y="5667309"/>
                <a:ext cx="177267" cy="176416"/>
              </a:xfrm>
              <a:prstGeom prst="flowChartMagneticDisk">
                <a:avLst/>
              </a:prstGeom>
              <a:grpFill/>
              <a:ln w="3175" cap="flat" cmpd="sng" algn="ctr">
                <a:solidFill>
                  <a:schemeClr val="accent2"/>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65" name="Flowchart: Magnetic Disk 164"/>
              <p:cNvSpPr/>
              <p:nvPr>
                <p:custDataLst>
                  <p:tags r:id="rId34"/>
                </p:custDataLst>
              </p:nvPr>
            </p:nvSpPr>
            <p:spPr>
              <a:xfrm>
                <a:off x="7771697" y="5733520"/>
                <a:ext cx="177267" cy="176416"/>
              </a:xfrm>
              <a:prstGeom prst="flowChartMagneticDisk">
                <a:avLst/>
              </a:prstGeom>
              <a:grpFill/>
              <a:ln w="3175" cap="flat" cmpd="sng" algn="ctr">
                <a:solidFill>
                  <a:schemeClr val="accent2"/>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66" name="Flowchart: Magnetic Disk 165"/>
              <p:cNvSpPr/>
              <p:nvPr>
                <p:custDataLst>
                  <p:tags r:id="rId35"/>
                </p:custDataLst>
              </p:nvPr>
            </p:nvSpPr>
            <p:spPr>
              <a:xfrm>
                <a:off x="7616336" y="5815697"/>
                <a:ext cx="177267" cy="176416"/>
              </a:xfrm>
              <a:prstGeom prst="flowChartMagneticDisk">
                <a:avLst/>
              </a:prstGeom>
              <a:grpFill/>
              <a:ln w="3175" cap="flat" cmpd="sng" algn="ctr">
                <a:solidFill>
                  <a:schemeClr val="accent2"/>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grpSp>
        <p:sp>
          <p:nvSpPr>
            <p:cNvPr id="137" name="Rectangle 136"/>
            <p:cNvSpPr/>
            <p:nvPr/>
          </p:nvSpPr>
          <p:spPr bwMode="auto">
            <a:xfrm>
              <a:off x="6043316" y="2810655"/>
              <a:ext cx="1354367" cy="246256"/>
            </a:xfrm>
            <a:prstGeom prst="rect">
              <a:avLst/>
            </a:prstGeom>
            <a:no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defTabSz="913927" fontAlgn="base">
                <a:spcBef>
                  <a:spcPct val="0"/>
                </a:spcBef>
                <a:spcAft>
                  <a:spcPct val="0"/>
                </a:spcAft>
                <a:defRPr/>
              </a:pPr>
              <a:r>
                <a:rPr lang="en-US" sz="1600" b="1" kern="0" dirty="0">
                  <a:ln>
                    <a:solidFill>
                      <a:srgbClr val="FFFFFF">
                        <a:alpha val="0"/>
                      </a:srgbClr>
                    </a:solidFill>
                  </a:ln>
                  <a:solidFill>
                    <a:prstClr val="white"/>
                  </a:solidFill>
                  <a:latin typeface="Segoe UI Light"/>
                </a:rPr>
                <a:t>SQL Server</a:t>
              </a:r>
            </a:p>
          </p:txBody>
        </p:sp>
        <p:grpSp>
          <p:nvGrpSpPr>
            <p:cNvPr id="138" name="Group 137"/>
            <p:cNvGrpSpPr/>
            <p:nvPr/>
          </p:nvGrpSpPr>
          <p:grpSpPr>
            <a:xfrm>
              <a:off x="5817960" y="3120206"/>
              <a:ext cx="558554" cy="444680"/>
              <a:chOff x="7503805" y="5667309"/>
              <a:chExt cx="445159" cy="324804"/>
            </a:xfrm>
            <a:solidFill>
              <a:schemeClr val="accent2">
                <a:lumMod val="40000"/>
                <a:lumOff val="60000"/>
              </a:schemeClr>
            </a:solidFill>
          </p:grpSpPr>
          <p:sp>
            <p:nvSpPr>
              <p:cNvPr id="159" name="Flowchart: Magnetic Disk 158"/>
              <p:cNvSpPr/>
              <p:nvPr>
                <p:custDataLst>
                  <p:tags r:id="rId28"/>
                </p:custDataLst>
              </p:nvPr>
            </p:nvSpPr>
            <p:spPr>
              <a:xfrm>
                <a:off x="7503805" y="5755518"/>
                <a:ext cx="177267" cy="176416"/>
              </a:xfrm>
              <a:prstGeom prst="flowChartMagneticDisk">
                <a:avLst/>
              </a:prstGeom>
              <a:grpFill/>
              <a:ln w="3175" cap="flat" cmpd="sng" algn="ctr">
                <a:solidFill>
                  <a:schemeClr val="accent2"/>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60" name="Flowchart: Magnetic Disk 159"/>
              <p:cNvSpPr/>
              <p:nvPr>
                <p:custDataLst>
                  <p:tags r:id="rId29"/>
                </p:custDataLst>
              </p:nvPr>
            </p:nvSpPr>
            <p:spPr>
              <a:xfrm>
                <a:off x="7683064" y="5667309"/>
                <a:ext cx="177267" cy="176416"/>
              </a:xfrm>
              <a:prstGeom prst="flowChartMagneticDisk">
                <a:avLst/>
              </a:prstGeom>
              <a:grpFill/>
              <a:ln w="3175" cap="flat" cmpd="sng" algn="ctr">
                <a:solidFill>
                  <a:schemeClr val="accent2"/>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61" name="Flowchart: Magnetic Disk 160"/>
              <p:cNvSpPr/>
              <p:nvPr>
                <p:custDataLst>
                  <p:tags r:id="rId30"/>
                </p:custDataLst>
              </p:nvPr>
            </p:nvSpPr>
            <p:spPr>
              <a:xfrm>
                <a:off x="7771697" y="5733520"/>
                <a:ext cx="177267" cy="176416"/>
              </a:xfrm>
              <a:prstGeom prst="flowChartMagneticDisk">
                <a:avLst/>
              </a:prstGeom>
              <a:grpFill/>
              <a:ln w="3175" cap="flat" cmpd="sng" algn="ctr">
                <a:solidFill>
                  <a:schemeClr val="accent2"/>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62" name="Flowchart: Magnetic Disk 161"/>
              <p:cNvSpPr/>
              <p:nvPr>
                <p:custDataLst>
                  <p:tags r:id="rId31"/>
                </p:custDataLst>
              </p:nvPr>
            </p:nvSpPr>
            <p:spPr>
              <a:xfrm>
                <a:off x="7616336" y="5815697"/>
                <a:ext cx="177267" cy="176416"/>
              </a:xfrm>
              <a:prstGeom prst="flowChartMagneticDisk">
                <a:avLst/>
              </a:prstGeom>
              <a:grpFill/>
              <a:ln w="3175" cap="flat" cmpd="sng" algn="ctr">
                <a:solidFill>
                  <a:schemeClr val="accent2"/>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grpSp>
        <p:grpSp>
          <p:nvGrpSpPr>
            <p:cNvPr id="139" name="Group 138"/>
            <p:cNvGrpSpPr/>
            <p:nvPr/>
          </p:nvGrpSpPr>
          <p:grpSpPr>
            <a:xfrm>
              <a:off x="6075004" y="3377250"/>
              <a:ext cx="558554" cy="444680"/>
              <a:chOff x="7503805" y="5667309"/>
              <a:chExt cx="445159" cy="324804"/>
            </a:xfrm>
            <a:solidFill>
              <a:schemeClr val="accent2">
                <a:lumMod val="40000"/>
                <a:lumOff val="60000"/>
              </a:schemeClr>
            </a:solidFill>
          </p:grpSpPr>
          <p:sp>
            <p:nvSpPr>
              <p:cNvPr id="155" name="Flowchart: Magnetic Disk 154"/>
              <p:cNvSpPr/>
              <p:nvPr>
                <p:custDataLst>
                  <p:tags r:id="rId24"/>
                </p:custDataLst>
              </p:nvPr>
            </p:nvSpPr>
            <p:spPr>
              <a:xfrm>
                <a:off x="7503805" y="5755518"/>
                <a:ext cx="177267" cy="176416"/>
              </a:xfrm>
              <a:prstGeom prst="flowChartMagneticDisk">
                <a:avLst/>
              </a:prstGeom>
              <a:grpFill/>
              <a:ln w="3175" cap="flat" cmpd="sng" algn="ctr">
                <a:solidFill>
                  <a:schemeClr val="accent2"/>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56" name="Flowchart: Magnetic Disk 155"/>
              <p:cNvSpPr/>
              <p:nvPr>
                <p:custDataLst>
                  <p:tags r:id="rId25"/>
                </p:custDataLst>
              </p:nvPr>
            </p:nvSpPr>
            <p:spPr>
              <a:xfrm>
                <a:off x="7683064" y="5667309"/>
                <a:ext cx="177267" cy="176416"/>
              </a:xfrm>
              <a:prstGeom prst="flowChartMagneticDisk">
                <a:avLst/>
              </a:prstGeom>
              <a:grpFill/>
              <a:ln w="3175" cap="flat" cmpd="sng" algn="ctr">
                <a:solidFill>
                  <a:schemeClr val="accent2"/>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57" name="Flowchart: Magnetic Disk 156"/>
              <p:cNvSpPr/>
              <p:nvPr>
                <p:custDataLst>
                  <p:tags r:id="rId26"/>
                </p:custDataLst>
              </p:nvPr>
            </p:nvSpPr>
            <p:spPr>
              <a:xfrm>
                <a:off x="7771697" y="5733520"/>
                <a:ext cx="177267" cy="176416"/>
              </a:xfrm>
              <a:prstGeom prst="flowChartMagneticDisk">
                <a:avLst/>
              </a:prstGeom>
              <a:grpFill/>
              <a:ln w="3175" cap="flat" cmpd="sng" algn="ctr">
                <a:solidFill>
                  <a:schemeClr val="accent2"/>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58" name="Flowchart: Magnetic Disk 157"/>
              <p:cNvSpPr/>
              <p:nvPr>
                <p:custDataLst>
                  <p:tags r:id="rId27"/>
                </p:custDataLst>
              </p:nvPr>
            </p:nvSpPr>
            <p:spPr>
              <a:xfrm>
                <a:off x="7616336" y="5815697"/>
                <a:ext cx="177267" cy="176416"/>
              </a:xfrm>
              <a:prstGeom prst="flowChartMagneticDisk">
                <a:avLst/>
              </a:prstGeom>
              <a:grpFill/>
              <a:ln w="3175" cap="flat" cmpd="sng" algn="ctr">
                <a:solidFill>
                  <a:schemeClr val="accent2"/>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grpSp>
        <p:grpSp>
          <p:nvGrpSpPr>
            <p:cNvPr id="140" name="Group 139"/>
            <p:cNvGrpSpPr/>
            <p:nvPr/>
          </p:nvGrpSpPr>
          <p:grpSpPr>
            <a:xfrm>
              <a:off x="5301826" y="3198007"/>
              <a:ext cx="558554" cy="444680"/>
              <a:chOff x="7503805" y="5667309"/>
              <a:chExt cx="445159" cy="324804"/>
            </a:xfrm>
            <a:solidFill>
              <a:schemeClr val="accent2">
                <a:lumMod val="40000"/>
                <a:lumOff val="60000"/>
              </a:schemeClr>
            </a:solidFill>
          </p:grpSpPr>
          <p:sp>
            <p:nvSpPr>
              <p:cNvPr id="151" name="Flowchart: Magnetic Disk 150"/>
              <p:cNvSpPr/>
              <p:nvPr>
                <p:custDataLst>
                  <p:tags r:id="rId20"/>
                </p:custDataLst>
              </p:nvPr>
            </p:nvSpPr>
            <p:spPr>
              <a:xfrm>
                <a:off x="7503805" y="5755518"/>
                <a:ext cx="177267" cy="176416"/>
              </a:xfrm>
              <a:prstGeom prst="flowChartMagneticDisk">
                <a:avLst/>
              </a:prstGeom>
              <a:grpFill/>
              <a:ln w="3175" cap="flat" cmpd="sng" algn="ctr">
                <a:solidFill>
                  <a:schemeClr val="accent2"/>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52" name="Flowchart: Magnetic Disk 151"/>
              <p:cNvSpPr/>
              <p:nvPr>
                <p:custDataLst>
                  <p:tags r:id="rId21"/>
                </p:custDataLst>
              </p:nvPr>
            </p:nvSpPr>
            <p:spPr>
              <a:xfrm>
                <a:off x="7683064" y="5667309"/>
                <a:ext cx="177267" cy="176416"/>
              </a:xfrm>
              <a:prstGeom prst="flowChartMagneticDisk">
                <a:avLst/>
              </a:prstGeom>
              <a:grpFill/>
              <a:ln w="3175" cap="flat" cmpd="sng" algn="ctr">
                <a:solidFill>
                  <a:schemeClr val="accent2"/>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53" name="Flowchart: Magnetic Disk 152"/>
              <p:cNvSpPr/>
              <p:nvPr>
                <p:custDataLst>
                  <p:tags r:id="rId22"/>
                </p:custDataLst>
              </p:nvPr>
            </p:nvSpPr>
            <p:spPr>
              <a:xfrm>
                <a:off x="7771697" y="5733520"/>
                <a:ext cx="177267" cy="176416"/>
              </a:xfrm>
              <a:prstGeom prst="flowChartMagneticDisk">
                <a:avLst/>
              </a:prstGeom>
              <a:grpFill/>
              <a:ln w="3175" cap="flat" cmpd="sng" algn="ctr">
                <a:solidFill>
                  <a:schemeClr val="accent2"/>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54" name="Flowchart: Magnetic Disk 153"/>
              <p:cNvSpPr/>
              <p:nvPr>
                <p:custDataLst>
                  <p:tags r:id="rId23"/>
                </p:custDataLst>
              </p:nvPr>
            </p:nvSpPr>
            <p:spPr>
              <a:xfrm>
                <a:off x="7616336" y="5815697"/>
                <a:ext cx="177267" cy="176416"/>
              </a:xfrm>
              <a:prstGeom prst="flowChartMagneticDisk">
                <a:avLst/>
              </a:prstGeom>
              <a:grpFill/>
              <a:ln w="3175" cap="flat" cmpd="sng" algn="ctr">
                <a:solidFill>
                  <a:schemeClr val="accent2"/>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grpSp>
        <p:grpSp>
          <p:nvGrpSpPr>
            <p:cNvPr id="141" name="Group 140"/>
            <p:cNvGrpSpPr/>
            <p:nvPr/>
          </p:nvGrpSpPr>
          <p:grpSpPr>
            <a:xfrm>
              <a:off x="5558871" y="3455051"/>
              <a:ext cx="558554" cy="444680"/>
              <a:chOff x="7503805" y="5667309"/>
              <a:chExt cx="445159" cy="324804"/>
            </a:xfrm>
            <a:solidFill>
              <a:schemeClr val="accent2">
                <a:lumMod val="40000"/>
                <a:lumOff val="60000"/>
              </a:schemeClr>
            </a:solidFill>
          </p:grpSpPr>
          <p:sp>
            <p:nvSpPr>
              <p:cNvPr id="147" name="Flowchart: Magnetic Disk 146"/>
              <p:cNvSpPr/>
              <p:nvPr>
                <p:custDataLst>
                  <p:tags r:id="rId16"/>
                </p:custDataLst>
              </p:nvPr>
            </p:nvSpPr>
            <p:spPr>
              <a:xfrm>
                <a:off x="7503805" y="5755518"/>
                <a:ext cx="177267" cy="176416"/>
              </a:xfrm>
              <a:prstGeom prst="flowChartMagneticDisk">
                <a:avLst/>
              </a:prstGeom>
              <a:grpFill/>
              <a:ln w="3175" cap="flat" cmpd="sng" algn="ctr">
                <a:solidFill>
                  <a:schemeClr val="accent2"/>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48" name="Flowchart: Magnetic Disk 147"/>
              <p:cNvSpPr/>
              <p:nvPr>
                <p:custDataLst>
                  <p:tags r:id="rId17"/>
                </p:custDataLst>
              </p:nvPr>
            </p:nvSpPr>
            <p:spPr>
              <a:xfrm>
                <a:off x="7683064" y="5667309"/>
                <a:ext cx="177267" cy="176416"/>
              </a:xfrm>
              <a:prstGeom prst="flowChartMagneticDisk">
                <a:avLst/>
              </a:prstGeom>
              <a:grpFill/>
              <a:ln w="3175" cap="flat" cmpd="sng" algn="ctr">
                <a:solidFill>
                  <a:schemeClr val="accent2"/>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49" name="Flowchart: Magnetic Disk 148"/>
              <p:cNvSpPr/>
              <p:nvPr>
                <p:custDataLst>
                  <p:tags r:id="rId18"/>
                </p:custDataLst>
              </p:nvPr>
            </p:nvSpPr>
            <p:spPr>
              <a:xfrm>
                <a:off x="7771697" y="5733520"/>
                <a:ext cx="177267" cy="176416"/>
              </a:xfrm>
              <a:prstGeom prst="flowChartMagneticDisk">
                <a:avLst/>
              </a:prstGeom>
              <a:grpFill/>
              <a:ln w="3175" cap="flat" cmpd="sng" algn="ctr">
                <a:solidFill>
                  <a:schemeClr val="accent2"/>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50" name="Flowchart: Magnetic Disk 149"/>
              <p:cNvSpPr/>
              <p:nvPr>
                <p:custDataLst>
                  <p:tags r:id="rId19"/>
                </p:custDataLst>
              </p:nvPr>
            </p:nvSpPr>
            <p:spPr>
              <a:xfrm>
                <a:off x="7616336" y="5815697"/>
                <a:ext cx="177267" cy="176416"/>
              </a:xfrm>
              <a:prstGeom prst="flowChartMagneticDisk">
                <a:avLst/>
              </a:prstGeom>
              <a:grpFill/>
              <a:ln w="3175" cap="flat" cmpd="sng" algn="ctr">
                <a:solidFill>
                  <a:schemeClr val="accent2"/>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grpSp>
        <p:grpSp>
          <p:nvGrpSpPr>
            <p:cNvPr id="167" name="Group 166"/>
            <p:cNvGrpSpPr/>
            <p:nvPr/>
          </p:nvGrpSpPr>
          <p:grpSpPr>
            <a:xfrm>
              <a:off x="4503839" y="1633538"/>
              <a:ext cx="552450" cy="552450"/>
              <a:chOff x="4548229" y="1633538"/>
              <a:chExt cx="552450" cy="552450"/>
            </a:xfrm>
          </p:grpSpPr>
          <p:sp>
            <p:nvSpPr>
              <p:cNvPr id="168" name="Oval 167"/>
              <p:cNvSpPr/>
              <p:nvPr/>
            </p:nvSpPr>
            <p:spPr>
              <a:xfrm>
                <a:off x="4548229" y="1633538"/>
                <a:ext cx="552450" cy="552450"/>
              </a:xfrm>
              <a:prstGeom prst="ellipse">
                <a:avLst/>
              </a:prstGeom>
              <a:solidFill>
                <a:schemeClr val="accent2">
                  <a:lumMod val="40000"/>
                  <a:lumOff val="60000"/>
                </a:schemeClr>
              </a:solidFill>
              <a:ln w="10795" cap="flat" cmpd="sng" algn="ctr">
                <a:noFill/>
                <a:prstDash val="solid"/>
              </a:ln>
              <a:effectLst/>
            </p:spPr>
            <p:txBody>
              <a:bodyPr rtlCol="0" anchor="ctr"/>
              <a:lstStyle/>
              <a:p>
                <a:pPr algn="ctr" defTabSz="914225">
                  <a:defRPr/>
                </a:pPr>
                <a:endParaRPr lang="en-US" kern="0">
                  <a:solidFill>
                    <a:prstClr val="white"/>
                  </a:solidFill>
                  <a:latin typeface="Calibri" panose="020F0502020204030204"/>
                </a:endParaRPr>
              </a:p>
            </p:txBody>
          </p:sp>
          <p:sp>
            <p:nvSpPr>
              <p:cNvPr id="169" name="TextBox 168"/>
              <p:cNvSpPr txBox="1"/>
              <p:nvPr/>
            </p:nvSpPr>
            <p:spPr>
              <a:xfrm>
                <a:off x="4633351" y="1644129"/>
                <a:ext cx="360996" cy="531812"/>
              </a:xfrm>
              <a:prstGeom prst="rect">
                <a:avLst/>
              </a:prstGeom>
              <a:noFill/>
            </p:spPr>
            <p:txBody>
              <a:bodyPr wrap="none" rtlCol="0">
                <a:spAutoFit/>
              </a:bodyPr>
              <a:lstStyle/>
              <a:p>
                <a:pPr defTabSz="914225">
                  <a:defRPr/>
                </a:pPr>
                <a:r>
                  <a:rPr lang="en-US" sz="2800" b="1" kern="0" dirty="0">
                    <a:solidFill>
                      <a:prstClr val="white"/>
                    </a:solidFill>
                    <a:latin typeface="Segoe UI Black" panose="020B0A02040204020203" pitchFamily="34" charset="0"/>
                    <a:ea typeface="Segoe UI Black" panose="020B0A02040204020203" pitchFamily="34" charset="0"/>
                    <a:cs typeface="Segoe UI Black" panose="020B0A02040204020203" pitchFamily="34" charset="0"/>
                  </a:rPr>
                  <a:t>1</a:t>
                </a:r>
              </a:p>
            </p:txBody>
          </p:sp>
        </p:grpSp>
        <p:sp>
          <p:nvSpPr>
            <p:cNvPr id="170" name="TextBox 169"/>
            <p:cNvSpPr txBox="1"/>
            <p:nvPr/>
          </p:nvSpPr>
          <p:spPr>
            <a:xfrm>
              <a:off x="5118435" y="1712393"/>
              <a:ext cx="2175596" cy="469039"/>
            </a:xfrm>
            <a:prstGeom prst="rect">
              <a:avLst/>
            </a:prstGeom>
            <a:noFill/>
          </p:spPr>
          <p:txBody>
            <a:bodyPr wrap="none" rtlCol="0">
              <a:spAutoFit/>
            </a:bodyPr>
            <a:lstStyle/>
            <a:p>
              <a:pPr defTabSz="914225">
                <a:defRPr/>
              </a:pPr>
              <a:r>
                <a:rPr lang="en-US" sz="2400" kern="0" dirty="0">
                  <a:solidFill>
                    <a:prstClr val="white"/>
                  </a:solidFill>
                  <a:latin typeface="Segoe UI Light"/>
                </a:rPr>
                <a:t>DB Assessment</a:t>
              </a:r>
            </a:p>
          </p:txBody>
        </p:sp>
      </p:grpSp>
      <p:grpSp>
        <p:nvGrpSpPr>
          <p:cNvPr id="175" name="Group 174"/>
          <p:cNvGrpSpPr/>
          <p:nvPr/>
        </p:nvGrpSpPr>
        <p:grpSpPr>
          <a:xfrm>
            <a:off x="4661334" y="5465042"/>
            <a:ext cx="3030886" cy="1034592"/>
            <a:chOff x="5207646" y="5041263"/>
            <a:chExt cx="3031316" cy="976614"/>
          </a:xfrm>
        </p:grpSpPr>
        <p:sp>
          <p:nvSpPr>
            <p:cNvPr id="176" name="TextBox 175"/>
            <p:cNvSpPr txBox="1"/>
            <p:nvPr/>
          </p:nvSpPr>
          <p:spPr>
            <a:xfrm>
              <a:off x="5207646" y="5041263"/>
              <a:ext cx="1443024" cy="738988"/>
            </a:xfrm>
            <a:prstGeom prst="rect">
              <a:avLst/>
            </a:prstGeom>
            <a:noFill/>
          </p:spPr>
          <p:txBody>
            <a:bodyPr wrap="none" rtlCol="0">
              <a:spAutoFit/>
            </a:bodyPr>
            <a:lstStyle/>
            <a:p>
              <a:pPr defTabSz="914225">
                <a:defRPr/>
              </a:pPr>
              <a:r>
                <a:rPr lang="en-US" sz="4400" kern="0" dirty="0">
                  <a:solidFill>
                    <a:prstClr val="white"/>
                  </a:solidFill>
                  <a:latin typeface="Segoe UI Black" panose="020B0A02040204020203" pitchFamily="34" charset="0"/>
                  <a:ea typeface="Segoe UI Black" panose="020B0A02040204020203" pitchFamily="34" charset="0"/>
                  <a:cs typeface="Segoe UI Black" panose="020B0A02040204020203" pitchFamily="34" charset="0"/>
                </a:rPr>
                <a:t>53%</a:t>
              </a:r>
              <a:r>
                <a:rPr lang="en-US" kern="0" dirty="0">
                  <a:solidFill>
                    <a:prstClr val="white"/>
                  </a:solidFill>
                  <a:latin typeface="Calibri" panose="020F0502020204030204"/>
                </a:rPr>
                <a:t> </a:t>
              </a:r>
            </a:p>
          </p:txBody>
        </p:sp>
        <p:sp>
          <p:nvSpPr>
            <p:cNvPr id="177" name="Rectangle 176"/>
            <p:cNvSpPr/>
            <p:nvPr/>
          </p:nvSpPr>
          <p:spPr>
            <a:xfrm>
              <a:off x="6420836" y="5130800"/>
              <a:ext cx="1818126" cy="887077"/>
            </a:xfrm>
            <a:prstGeom prst="rect">
              <a:avLst/>
            </a:prstGeom>
          </p:spPr>
          <p:txBody>
            <a:bodyPr wrap="none">
              <a:spAutoFit/>
            </a:bodyPr>
            <a:lstStyle/>
            <a:p>
              <a:pPr defTabSz="914225">
                <a:defRPr/>
              </a:pPr>
              <a:r>
                <a:rPr lang="en-US" kern="0" dirty="0">
                  <a:solidFill>
                    <a:prstClr val="white"/>
                  </a:solidFill>
                  <a:latin typeface="Segoe UI Light"/>
                </a:rPr>
                <a:t>SQL Database</a:t>
              </a:r>
            </a:p>
            <a:p>
              <a:pPr defTabSz="914225">
                <a:defRPr/>
              </a:pPr>
              <a:r>
                <a:rPr lang="en-US" kern="0" dirty="0">
                  <a:solidFill>
                    <a:prstClr val="white"/>
                  </a:solidFill>
                  <a:latin typeface="Segoe UI Light"/>
                </a:rPr>
                <a:t>potentially ready</a:t>
              </a:r>
            </a:p>
            <a:p>
              <a:pPr defTabSz="914225">
                <a:defRPr/>
              </a:pPr>
              <a:r>
                <a:rPr lang="en-US" kern="0" dirty="0">
                  <a:solidFill>
                    <a:prstClr val="white"/>
                  </a:solidFill>
                  <a:latin typeface="Segoe UI Light"/>
                </a:rPr>
                <a:t>to be migrated</a:t>
              </a:r>
            </a:p>
          </p:txBody>
        </p:sp>
      </p:grpSp>
      <p:grpSp>
        <p:nvGrpSpPr>
          <p:cNvPr id="215" name="Group 214"/>
          <p:cNvGrpSpPr/>
          <p:nvPr/>
        </p:nvGrpSpPr>
        <p:grpSpPr>
          <a:xfrm>
            <a:off x="7945670" y="1633793"/>
            <a:ext cx="4003100" cy="2329246"/>
            <a:chOff x="7945932" y="1633538"/>
            <a:chExt cx="4003668" cy="2329576"/>
          </a:xfrm>
        </p:grpSpPr>
        <p:sp>
          <p:nvSpPr>
            <p:cNvPr id="171" name="TextBox 170"/>
            <p:cNvSpPr txBox="1"/>
            <p:nvPr/>
          </p:nvSpPr>
          <p:spPr>
            <a:xfrm>
              <a:off x="8560528" y="1712393"/>
              <a:ext cx="1447832" cy="469039"/>
            </a:xfrm>
            <a:prstGeom prst="rect">
              <a:avLst/>
            </a:prstGeom>
            <a:noFill/>
          </p:spPr>
          <p:txBody>
            <a:bodyPr wrap="none" rtlCol="0">
              <a:spAutoFit/>
            </a:bodyPr>
            <a:lstStyle/>
            <a:p>
              <a:pPr defTabSz="914225">
                <a:defRPr/>
              </a:pPr>
              <a:r>
                <a:rPr lang="en-US" sz="2400" kern="0" dirty="0">
                  <a:solidFill>
                    <a:prstClr val="white"/>
                  </a:solidFill>
                  <a:latin typeface="Segoe UI Light"/>
                </a:rPr>
                <a:t>Migration</a:t>
              </a:r>
            </a:p>
          </p:txBody>
        </p:sp>
        <p:grpSp>
          <p:nvGrpSpPr>
            <p:cNvPr id="172" name="Group 171"/>
            <p:cNvGrpSpPr/>
            <p:nvPr/>
          </p:nvGrpSpPr>
          <p:grpSpPr>
            <a:xfrm>
              <a:off x="7945932" y="1633538"/>
              <a:ext cx="552450" cy="552450"/>
              <a:chOff x="7945932" y="1652583"/>
              <a:chExt cx="552450" cy="552450"/>
            </a:xfrm>
          </p:grpSpPr>
          <p:sp>
            <p:nvSpPr>
              <p:cNvPr id="173" name="Oval 172"/>
              <p:cNvSpPr/>
              <p:nvPr/>
            </p:nvSpPr>
            <p:spPr>
              <a:xfrm>
                <a:off x="7945932" y="1652583"/>
                <a:ext cx="552450" cy="552450"/>
              </a:xfrm>
              <a:prstGeom prst="ellipse">
                <a:avLst/>
              </a:prstGeom>
              <a:solidFill>
                <a:schemeClr val="accent2">
                  <a:lumMod val="40000"/>
                  <a:lumOff val="60000"/>
                </a:schemeClr>
              </a:solidFill>
              <a:ln w="10795" cap="flat" cmpd="sng" algn="ctr">
                <a:noFill/>
                <a:prstDash val="solid"/>
              </a:ln>
              <a:effectLst/>
            </p:spPr>
            <p:txBody>
              <a:bodyPr rtlCol="0" anchor="ctr"/>
              <a:lstStyle/>
              <a:p>
                <a:pPr algn="ctr" defTabSz="914225">
                  <a:defRPr/>
                </a:pPr>
                <a:endParaRPr lang="en-US" kern="0">
                  <a:solidFill>
                    <a:prstClr val="white"/>
                  </a:solidFill>
                  <a:latin typeface="Calibri" panose="020F0502020204030204"/>
                </a:endParaRPr>
              </a:p>
            </p:txBody>
          </p:sp>
          <p:sp>
            <p:nvSpPr>
              <p:cNvPr id="174" name="TextBox 173"/>
              <p:cNvSpPr txBox="1"/>
              <p:nvPr/>
            </p:nvSpPr>
            <p:spPr>
              <a:xfrm>
                <a:off x="8032006" y="1652583"/>
                <a:ext cx="404278" cy="531812"/>
              </a:xfrm>
              <a:prstGeom prst="rect">
                <a:avLst/>
              </a:prstGeom>
              <a:noFill/>
            </p:spPr>
            <p:txBody>
              <a:bodyPr wrap="none" rtlCol="0">
                <a:spAutoFit/>
              </a:bodyPr>
              <a:lstStyle/>
              <a:p>
                <a:pPr defTabSz="914225">
                  <a:defRPr/>
                </a:pPr>
                <a:r>
                  <a:rPr lang="en-US" sz="2800" b="1" kern="0" dirty="0">
                    <a:solidFill>
                      <a:prstClr val="white"/>
                    </a:solidFill>
                    <a:latin typeface="Segoe UI Black" panose="020B0A02040204020203" pitchFamily="34" charset="0"/>
                    <a:ea typeface="Segoe UI Black" panose="020B0A02040204020203" pitchFamily="34" charset="0"/>
                    <a:cs typeface="Segoe UI Black" panose="020B0A02040204020203" pitchFamily="34" charset="0"/>
                  </a:rPr>
                  <a:t>2</a:t>
                </a:r>
              </a:p>
            </p:txBody>
          </p:sp>
        </p:grpSp>
        <p:pic>
          <p:nvPicPr>
            <p:cNvPr id="178" name="Picture 177"/>
            <p:cNvPicPr>
              <a:picLocks noChangeAspect="1"/>
            </p:cNvPicPr>
            <p:nvPr/>
          </p:nvPicPr>
          <p:blipFill>
            <a:blip r:embed="rId38"/>
            <a:stretch>
              <a:fillRect/>
            </a:stretch>
          </p:blipFill>
          <p:spPr>
            <a:xfrm>
              <a:off x="8559852" y="2384195"/>
              <a:ext cx="2403466" cy="1578919"/>
            </a:xfrm>
            <a:prstGeom prst="rect">
              <a:avLst/>
            </a:prstGeom>
          </p:spPr>
        </p:pic>
        <p:sp>
          <p:nvSpPr>
            <p:cNvPr id="179" name="Flowchart: Magnetic Disk 178"/>
            <p:cNvSpPr/>
            <p:nvPr>
              <p:custDataLst>
                <p:tags r:id="rId1"/>
              </p:custDataLst>
            </p:nvPr>
          </p:nvSpPr>
          <p:spPr>
            <a:xfrm>
              <a:off x="9274819" y="2548669"/>
              <a:ext cx="222421" cy="241526"/>
            </a:xfrm>
            <a:prstGeom prst="flowChartMagneticDisk">
              <a:avLst/>
            </a:prstGeom>
            <a:solidFill>
              <a:schemeClr val="accent2"/>
            </a:solidFill>
            <a:ln w="3175" cap="flat" cmpd="sng" algn="ctr">
              <a:solidFill>
                <a:schemeClr val="tx1"/>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80" name="Flowchart: Magnetic Disk 179"/>
            <p:cNvSpPr/>
            <p:nvPr>
              <p:custDataLst>
                <p:tags r:id="rId2"/>
              </p:custDataLst>
            </p:nvPr>
          </p:nvSpPr>
          <p:spPr>
            <a:xfrm>
              <a:off x="9163608" y="2696817"/>
              <a:ext cx="222421" cy="241526"/>
            </a:xfrm>
            <a:prstGeom prst="flowChartMagneticDisk">
              <a:avLst/>
            </a:prstGeom>
            <a:solidFill>
              <a:schemeClr val="accent2"/>
            </a:solidFill>
            <a:ln w="3175" cap="flat" cmpd="sng" algn="ctr">
              <a:solidFill>
                <a:schemeClr val="tx1"/>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81" name="Flowchart: Magnetic Disk 180"/>
            <p:cNvSpPr/>
            <p:nvPr>
              <p:custDataLst>
                <p:tags r:id="rId3"/>
              </p:custDataLst>
            </p:nvPr>
          </p:nvSpPr>
          <p:spPr>
            <a:xfrm>
              <a:off x="9420652" y="2696817"/>
              <a:ext cx="222421" cy="241526"/>
            </a:xfrm>
            <a:prstGeom prst="flowChartMagneticDisk">
              <a:avLst/>
            </a:prstGeom>
            <a:solidFill>
              <a:schemeClr val="accent2"/>
            </a:solidFill>
            <a:ln w="3175" cap="flat" cmpd="sng" algn="ctr">
              <a:solidFill>
                <a:schemeClr val="tx1"/>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82" name="Flowchart: Magnetic Disk 181"/>
            <p:cNvSpPr/>
            <p:nvPr>
              <p:custDataLst>
                <p:tags r:id="rId4"/>
              </p:custDataLst>
            </p:nvPr>
          </p:nvSpPr>
          <p:spPr>
            <a:xfrm>
              <a:off x="9295171" y="2841752"/>
              <a:ext cx="222421" cy="241526"/>
            </a:xfrm>
            <a:prstGeom prst="flowChartMagneticDisk">
              <a:avLst/>
            </a:prstGeom>
            <a:solidFill>
              <a:schemeClr val="accent2"/>
            </a:solidFill>
            <a:ln w="3175" cap="flat" cmpd="sng" algn="ctr">
              <a:solidFill>
                <a:schemeClr val="tx1"/>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83" name="Flowchart: Magnetic Disk 182"/>
            <p:cNvSpPr/>
            <p:nvPr>
              <p:custDataLst>
                <p:tags r:id="rId5"/>
              </p:custDataLst>
            </p:nvPr>
          </p:nvSpPr>
          <p:spPr>
            <a:xfrm>
              <a:off x="8865239" y="2758225"/>
              <a:ext cx="222421" cy="241526"/>
            </a:xfrm>
            <a:prstGeom prst="flowChartMagneticDisk">
              <a:avLst/>
            </a:prstGeom>
            <a:solidFill>
              <a:schemeClr val="accent2"/>
            </a:solidFill>
            <a:ln w="3175" cap="flat" cmpd="sng" algn="ctr">
              <a:solidFill>
                <a:schemeClr val="tx1"/>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84" name="Flowchart: Magnetic Disk 183"/>
            <p:cNvSpPr/>
            <p:nvPr>
              <p:custDataLst>
                <p:tags r:id="rId6"/>
              </p:custDataLst>
            </p:nvPr>
          </p:nvSpPr>
          <p:spPr>
            <a:xfrm>
              <a:off x="8754028" y="2906373"/>
              <a:ext cx="222421" cy="241526"/>
            </a:xfrm>
            <a:prstGeom prst="flowChartMagneticDisk">
              <a:avLst/>
            </a:prstGeom>
            <a:solidFill>
              <a:schemeClr val="accent2"/>
            </a:solidFill>
            <a:ln w="3175" cap="flat" cmpd="sng" algn="ctr">
              <a:solidFill>
                <a:schemeClr val="tx1"/>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85" name="Flowchart: Magnetic Disk 184"/>
            <p:cNvSpPr/>
            <p:nvPr>
              <p:custDataLst>
                <p:tags r:id="rId7"/>
              </p:custDataLst>
            </p:nvPr>
          </p:nvSpPr>
          <p:spPr>
            <a:xfrm>
              <a:off x="9011072" y="2906373"/>
              <a:ext cx="222421" cy="241526"/>
            </a:xfrm>
            <a:prstGeom prst="flowChartMagneticDisk">
              <a:avLst/>
            </a:prstGeom>
            <a:solidFill>
              <a:schemeClr val="accent2"/>
            </a:solidFill>
            <a:ln w="3175" cap="flat" cmpd="sng" algn="ctr">
              <a:solidFill>
                <a:schemeClr val="tx1"/>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86" name="Flowchart: Magnetic Disk 185"/>
            <p:cNvSpPr/>
            <p:nvPr>
              <p:custDataLst>
                <p:tags r:id="rId8"/>
              </p:custDataLst>
            </p:nvPr>
          </p:nvSpPr>
          <p:spPr>
            <a:xfrm>
              <a:off x="8885591" y="3051308"/>
              <a:ext cx="222421" cy="241526"/>
            </a:xfrm>
            <a:prstGeom prst="flowChartMagneticDisk">
              <a:avLst/>
            </a:prstGeom>
            <a:solidFill>
              <a:schemeClr val="accent2"/>
            </a:solidFill>
            <a:ln w="3175" cap="flat" cmpd="sng" algn="ctr">
              <a:solidFill>
                <a:schemeClr val="tx1"/>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87" name="Flowchart: Magnetic Disk 186"/>
            <p:cNvSpPr/>
            <p:nvPr>
              <p:custDataLst>
                <p:tags r:id="rId9"/>
              </p:custDataLst>
            </p:nvPr>
          </p:nvSpPr>
          <p:spPr>
            <a:xfrm>
              <a:off x="10360669" y="3193758"/>
              <a:ext cx="222421" cy="241526"/>
            </a:xfrm>
            <a:prstGeom prst="flowChartMagneticDisk">
              <a:avLst/>
            </a:prstGeom>
            <a:solidFill>
              <a:schemeClr val="accent2"/>
            </a:solidFill>
            <a:ln w="3175" cap="flat" cmpd="sng" algn="ctr">
              <a:solidFill>
                <a:schemeClr val="tx1"/>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88" name="Flowchart: Magnetic Disk 187"/>
            <p:cNvSpPr/>
            <p:nvPr>
              <p:custDataLst>
                <p:tags r:id="rId10"/>
              </p:custDataLst>
            </p:nvPr>
          </p:nvSpPr>
          <p:spPr>
            <a:xfrm>
              <a:off x="10249458" y="3341906"/>
              <a:ext cx="222421" cy="241526"/>
            </a:xfrm>
            <a:prstGeom prst="flowChartMagneticDisk">
              <a:avLst/>
            </a:prstGeom>
            <a:solidFill>
              <a:schemeClr val="accent2"/>
            </a:solidFill>
            <a:ln w="3175" cap="flat" cmpd="sng" algn="ctr">
              <a:solidFill>
                <a:schemeClr val="tx1"/>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89" name="Flowchart: Magnetic Disk 188"/>
            <p:cNvSpPr/>
            <p:nvPr>
              <p:custDataLst>
                <p:tags r:id="rId11"/>
              </p:custDataLst>
            </p:nvPr>
          </p:nvSpPr>
          <p:spPr>
            <a:xfrm>
              <a:off x="10506502" y="3341906"/>
              <a:ext cx="222421" cy="241526"/>
            </a:xfrm>
            <a:prstGeom prst="flowChartMagneticDisk">
              <a:avLst/>
            </a:prstGeom>
            <a:solidFill>
              <a:schemeClr val="accent2"/>
            </a:solidFill>
            <a:ln w="3175" cap="flat" cmpd="sng" algn="ctr">
              <a:solidFill>
                <a:schemeClr val="tx1"/>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90" name="Flowchart: Magnetic Disk 189"/>
            <p:cNvSpPr/>
            <p:nvPr>
              <p:custDataLst>
                <p:tags r:id="rId12"/>
              </p:custDataLst>
            </p:nvPr>
          </p:nvSpPr>
          <p:spPr>
            <a:xfrm>
              <a:off x="10381021" y="3486841"/>
              <a:ext cx="222421" cy="241526"/>
            </a:xfrm>
            <a:prstGeom prst="flowChartMagneticDisk">
              <a:avLst/>
            </a:prstGeom>
            <a:solidFill>
              <a:schemeClr val="accent2"/>
            </a:solidFill>
            <a:ln w="3175" cap="flat" cmpd="sng" algn="ctr">
              <a:solidFill>
                <a:schemeClr val="tx1"/>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91" name="Flowchart: Magnetic Disk 190"/>
            <p:cNvSpPr/>
            <p:nvPr>
              <p:custDataLst>
                <p:tags r:id="rId13"/>
              </p:custDataLst>
            </p:nvPr>
          </p:nvSpPr>
          <p:spPr>
            <a:xfrm>
              <a:off x="9951089" y="3403314"/>
              <a:ext cx="222421" cy="241526"/>
            </a:xfrm>
            <a:prstGeom prst="flowChartMagneticDisk">
              <a:avLst/>
            </a:prstGeom>
            <a:solidFill>
              <a:schemeClr val="accent2"/>
            </a:solidFill>
            <a:ln w="3175" cap="flat" cmpd="sng" algn="ctr">
              <a:solidFill>
                <a:schemeClr val="tx1"/>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92" name="Flowchart: Magnetic Disk 191"/>
            <p:cNvSpPr/>
            <p:nvPr>
              <p:custDataLst>
                <p:tags r:id="rId14"/>
              </p:custDataLst>
            </p:nvPr>
          </p:nvSpPr>
          <p:spPr>
            <a:xfrm>
              <a:off x="9839878" y="3551462"/>
              <a:ext cx="222421" cy="241526"/>
            </a:xfrm>
            <a:prstGeom prst="flowChartMagneticDisk">
              <a:avLst/>
            </a:prstGeom>
            <a:solidFill>
              <a:schemeClr val="accent2"/>
            </a:solidFill>
            <a:ln w="3175" cap="flat" cmpd="sng" algn="ctr">
              <a:solidFill>
                <a:schemeClr val="tx1"/>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93" name="Flowchart: Magnetic Disk 192"/>
            <p:cNvSpPr/>
            <p:nvPr>
              <p:custDataLst>
                <p:tags r:id="rId15"/>
              </p:custDataLst>
            </p:nvPr>
          </p:nvSpPr>
          <p:spPr>
            <a:xfrm>
              <a:off x="10096922" y="3551462"/>
              <a:ext cx="222421" cy="241526"/>
            </a:xfrm>
            <a:prstGeom prst="flowChartMagneticDisk">
              <a:avLst/>
            </a:prstGeom>
            <a:solidFill>
              <a:schemeClr val="accent2"/>
            </a:solidFill>
            <a:ln w="3175" cap="flat" cmpd="sng" algn="ctr">
              <a:solidFill>
                <a:schemeClr val="tx1"/>
              </a:solidFill>
              <a:prstDash val="solid"/>
            </a:ln>
            <a:effectLst/>
          </p:spPr>
          <p:txBody>
            <a:bodyPr wrap="none" rtlCol="0" anchor="ctr"/>
            <a:lstStyle/>
            <a:p>
              <a:pPr algn="ctr" defTabSz="1218134">
                <a:defRPr/>
              </a:pPr>
              <a:endParaRPr lang="en-US" sz="980" kern="0" dirty="0">
                <a:ln>
                  <a:solidFill>
                    <a:srgbClr val="FFFFFF">
                      <a:alpha val="0"/>
                    </a:srgbClr>
                  </a:solidFill>
                </a:ln>
                <a:solidFill>
                  <a:srgbClr val="FFFFFF"/>
                </a:solidFill>
                <a:latin typeface="Segoe UI"/>
              </a:endParaRPr>
            </a:p>
          </p:txBody>
        </p:sp>
        <p:sp>
          <p:nvSpPr>
            <p:cNvPr id="194" name="TextBox 193"/>
            <p:cNvSpPr txBox="1"/>
            <p:nvPr/>
          </p:nvSpPr>
          <p:spPr>
            <a:xfrm>
              <a:off x="10775881" y="2863229"/>
              <a:ext cx="1173719" cy="594650"/>
            </a:xfrm>
            <a:prstGeom prst="rect">
              <a:avLst/>
            </a:prstGeom>
            <a:noFill/>
          </p:spPr>
          <p:txBody>
            <a:bodyPr wrap="none" rtlCol="0">
              <a:spAutoFit/>
            </a:bodyPr>
            <a:lstStyle/>
            <a:p>
              <a:pPr algn="r" defTabSz="914225">
                <a:defRPr/>
              </a:pPr>
              <a:r>
                <a:rPr lang="en-US" sz="1600" b="1" kern="0" dirty="0">
                  <a:ln>
                    <a:solidFill>
                      <a:srgbClr val="FFFFFF">
                        <a:alpha val="0"/>
                      </a:srgbClr>
                    </a:solidFill>
                  </a:ln>
                  <a:solidFill>
                    <a:prstClr val="white"/>
                  </a:solidFill>
                  <a:latin typeface="Segoe UI Light"/>
                </a:rPr>
                <a:t>Azure SQL </a:t>
              </a:r>
            </a:p>
            <a:p>
              <a:pPr algn="r" defTabSz="914225">
                <a:defRPr/>
              </a:pPr>
              <a:r>
                <a:rPr lang="en-US" sz="1600" b="1" kern="0" dirty="0">
                  <a:ln>
                    <a:solidFill>
                      <a:srgbClr val="FFFFFF">
                        <a:alpha val="0"/>
                      </a:srgbClr>
                    </a:solidFill>
                  </a:ln>
                  <a:solidFill>
                    <a:prstClr val="white"/>
                  </a:solidFill>
                  <a:latin typeface="Segoe UI Light"/>
                </a:rPr>
                <a:t>Database</a:t>
              </a:r>
            </a:p>
          </p:txBody>
        </p:sp>
        <p:sp>
          <p:nvSpPr>
            <p:cNvPr id="195" name="TextBox 194"/>
            <p:cNvSpPr txBox="1"/>
            <p:nvPr/>
          </p:nvSpPr>
          <p:spPr>
            <a:xfrm>
              <a:off x="8025033" y="2306486"/>
              <a:ext cx="1205779" cy="594650"/>
            </a:xfrm>
            <a:prstGeom prst="rect">
              <a:avLst/>
            </a:prstGeom>
            <a:noFill/>
          </p:spPr>
          <p:txBody>
            <a:bodyPr wrap="none" rtlCol="0">
              <a:spAutoFit/>
            </a:bodyPr>
            <a:lstStyle/>
            <a:p>
              <a:pPr defTabSz="914225">
                <a:defRPr/>
              </a:pPr>
              <a:r>
                <a:rPr lang="en-US" sz="1600" b="1" kern="0" dirty="0">
                  <a:ln>
                    <a:solidFill>
                      <a:srgbClr val="FFFFFF">
                        <a:alpha val="0"/>
                      </a:srgbClr>
                    </a:solidFill>
                  </a:ln>
                  <a:solidFill>
                    <a:prstClr val="white"/>
                  </a:solidFill>
                  <a:latin typeface="Segoe UI Light"/>
                </a:rPr>
                <a:t>SQL Server </a:t>
              </a:r>
            </a:p>
            <a:p>
              <a:pPr defTabSz="914225">
                <a:defRPr/>
              </a:pPr>
              <a:r>
                <a:rPr lang="en-US" sz="1600" b="1" kern="0" dirty="0">
                  <a:ln>
                    <a:solidFill>
                      <a:srgbClr val="FFFFFF">
                        <a:alpha val="0"/>
                      </a:srgbClr>
                    </a:solidFill>
                  </a:ln>
                  <a:solidFill>
                    <a:prstClr val="white"/>
                  </a:solidFill>
                  <a:latin typeface="Segoe UI Light"/>
                </a:rPr>
                <a:t>in a VM</a:t>
              </a:r>
            </a:p>
          </p:txBody>
        </p:sp>
      </p:grpSp>
      <p:grpSp>
        <p:nvGrpSpPr>
          <p:cNvPr id="214" name="Group 213"/>
          <p:cNvGrpSpPr/>
          <p:nvPr/>
        </p:nvGrpSpPr>
        <p:grpSpPr>
          <a:xfrm>
            <a:off x="4748047" y="4304038"/>
            <a:ext cx="2753065" cy="1052799"/>
            <a:chOff x="4747856" y="4304165"/>
            <a:chExt cx="2753456" cy="1052949"/>
          </a:xfrm>
        </p:grpSpPr>
        <p:grpSp>
          <p:nvGrpSpPr>
            <p:cNvPr id="197" name="Group 196"/>
            <p:cNvGrpSpPr/>
            <p:nvPr/>
          </p:nvGrpSpPr>
          <p:grpSpPr>
            <a:xfrm>
              <a:off x="4761417" y="4479191"/>
              <a:ext cx="244523" cy="181973"/>
              <a:chOff x="6952649" y="2221784"/>
              <a:chExt cx="408353" cy="303894"/>
            </a:xfrm>
          </p:grpSpPr>
          <p:cxnSp>
            <p:nvCxnSpPr>
              <p:cNvPr id="198" name="Straight Connector 197"/>
              <p:cNvCxnSpPr>
                <a:cxnSpLocks/>
              </p:cNvCxnSpPr>
              <p:nvPr/>
            </p:nvCxnSpPr>
            <p:spPr>
              <a:xfrm flipH="1">
                <a:off x="7057108" y="2221784"/>
                <a:ext cx="303894" cy="303894"/>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a:off x="6952649" y="2407497"/>
                <a:ext cx="118181" cy="118181"/>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0" name="TextBox 199"/>
            <p:cNvSpPr txBox="1"/>
            <p:nvPr/>
          </p:nvSpPr>
          <p:spPr>
            <a:xfrm>
              <a:off x="5054929" y="4304165"/>
              <a:ext cx="1919436" cy="577979"/>
            </a:xfrm>
            <a:prstGeom prst="rect">
              <a:avLst/>
            </a:prstGeom>
            <a:noFill/>
          </p:spPr>
          <p:txBody>
            <a:bodyPr wrap="none" lIns="182854" tIns="146284" rIns="182854" bIns="146284" rtlCol="0">
              <a:spAutoFit/>
            </a:bodyPr>
            <a:lstStyle/>
            <a:p>
              <a:pPr defTabSz="914225">
                <a:lnSpc>
                  <a:spcPct val="90000"/>
                </a:lnSpc>
                <a:spcAft>
                  <a:spcPts val="600"/>
                </a:spcAft>
                <a:defRPr/>
              </a:pPr>
              <a:r>
                <a:rPr lang="en-US" sz="2000" kern="0" dirty="0">
                  <a:gradFill>
                    <a:gsLst>
                      <a:gs pos="2917">
                        <a:srgbClr val="FFFFFF"/>
                      </a:gs>
                      <a:gs pos="30000">
                        <a:srgbClr val="FFFFFF"/>
                      </a:gs>
                    </a:gsLst>
                    <a:lin ang="5400000" scaled="0"/>
                  </a:gradFill>
                  <a:latin typeface="Segoe UI Light"/>
                </a:rPr>
                <a:t>Schema check</a:t>
              </a:r>
            </a:p>
          </p:txBody>
        </p:sp>
        <p:grpSp>
          <p:nvGrpSpPr>
            <p:cNvPr id="201" name="Group 200"/>
            <p:cNvGrpSpPr/>
            <p:nvPr/>
          </p:nvGrpSpPr>
          <p:grpSpPr>
            <a:xfrm>
              <a:off x="4747856" y="4959635"/>
              <a:ext cx="244523" cy="181973"/>
              <a:chOff x="6952649" y="2221784"/>
              <a:chExt cx="408353" cy="303894"/>
            </a:xfrm>
          </p:grpSpPr>
          <p:cxnSp>
            <p:nvCxnSpPr>
              <p:cNvPr id="202" name="Straight Connector 201"/>
              <p:cNvCxnSpPr>
                <a:cxnSpLocks/>
              </p:cNvCxnSpPr>
              <p:nvPr/>
            </p:nvCxnSpPr>
            <p:spPr>
              <a:xfrm flipH="1">
                <a:off x="7057108" y="2221784"/>
                <a:ext cx="303894" cy="303894"/>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6952649" y="2407497"/>
                <a:ext cx="118181" cy="118181"/>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4" name="TextBox 203"/>
            <p:cNvSpPr txBox="1"/>
            <p:nvPr/>
          </p:nvSpPr>
          <p:spPr>
            <a:xfrm>
              <a:off x="5041368" y="4784609"/>
              <a:ext cx="2459944" cy="572505"/>
            </a:xfrm>
            <a:prstGeom prst="rect">
              <a:avLst/>
            </a:prstGeom>
            <a:noFill/>
          </p:spPr>
          <p:txBody>
            <a:bodyPr wrap="none" lIns="182854" tIns="146284" rIns="182854" bIns="146284" rtlCol="0">
              <a:spAutoFit/>
            </a:bodyPr>
            <a:lstStyle/>
            <a:p>
              <a:pPr defTabSz="914225">
                <a:lnSpc>
                  <a:spcPct val="90000"/>
                </a:lnSpc>
                <a:spcAft>
                  <a:spcPts val="600"/>
                </a:spcAft>
                <a:defRPr/>
              </a:pPr>
              <a:r>
                <a:rPr lang="en-US" sz="2000" kern="0" dirty="0">
                  <a:gradFill>
                    <a:gsLst>
                      <a:gs pos="2917">
                        <a:srgbClr val="FFFFFF"/>
                      </a:gs>
                      <a:gs pos="30000">
                        <a:srgbClr val="FFFFFF"/>
                      </a:gs>
                    </a:gsLst>
                    <a:lin ang="5400000" scaled="0"/>
                  </a:gradFill>
                  <a:latin typeface="Segoe UI Light"/>
                </a:rPr>
                <a:t>Compatibility check</a:t>
              </a:r>
            </a:p>
          </p:txBody>
        </p:sp>
      </p:grpSp>
      <p:grpSp>
        <p:nvGrpSpPr>
          <p:cNvPr id="216" name="Group 215"/>
          <p:cNvGrpSpPr/>
          <p:nvPr/>
        </p:nvGrpSpPr>
        <p:grpSpPr>
          <a:xfrm>
            <a:off x="8400335" y="4304041"/>
            <a:ext cx="3548435" cy="1340746"/>
            <a:chOff x="8400661" y="4304165"/>
            <a:chExt cx="3548939" cy="1340936"/>
          </a:xfrm>
        </p:grpSpPr>
        <p:grpSp>
          <p:nvGrpSpPr>
            <p:cNvPr id="205" name="Group 204"/>
            <p:cNvGrpSpPr/>
            <p:nvPr/>
          </p:nvGrpSpPr>
          <p:grpSpPr>
            <a:xfrm>
              <a:off x="8414222" y="4479191"/>
              <a:ext cx="244523" cy="181973"/>
              <a:chOff x="6952649" y="2221784"/>
              <a:chExt cx="408353" cy="303894"/>
            </a:xfrm>
          </p:grpSpPr>
          <p:cxnSp>
            <p:nvCxnSpPr>
              <p:cNvPr id="206" name="Straight Connector 205"/>
              <p:cNvCxnSpPr>
                <a:cxnSpLocks/>
              </p:cNvCxnSpPr>
              <p:nvPr/>
            </p:nvCxnSpPr>
            <p:spPr>
              <a:xfrm flipH="1">
                <a:off x="7057108" y="2221784"/>
                <a:ext cx="303894" cy="303894"/>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a:off x="6952649" y="2407497"/>
                <a:ext cx="118181" cy="118181"/>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8" name="TextBox 207"/>
            <p:cNvSpPr txBox="1"/>
            <p:nvPr/>
          </p:nvSpPr>
          <p:spPr>
            <a:xfrm>
              <a:off x="8707734" y="4304165"/>
              <a:ext cx="2934137" cy="577979"/>
            </a:xfrm>
            <a:prstGeom prst="rect">
              <a:avLst/>
            </a:prstGeom>
            <a:noFill/>
          </p:spPr>
          <p:txBody>
            <a:bodyPr wrap="none" lIns="182854" tIns="146284" rIns="182854" bIns="146284" rtlCol="0">
              <a:spAutoFit/>
            </a:bodyPr>
            <a:lstStyle/>
            <a:p>
              <a:pPr defTabSz="914225">
                <a:lnSpc>
                  <a:spcPct val="90000"/>
                </a:lnSpc>
                <a:spcAft>
                  <a:spcPts val="600"/>
                </a:spcAft>
                <a:defRPr/>
              </a:pPr>
              <a:r>
                <a:rPr lang="en-US" sz="2000" kern="0" dirty="0">
                  <a:gradFill>
                    <a:gsLst>
                      <a:gs pos="2917">
                        <a:srgbClr val="FFFFFF"/>
                      </a:gs>
                      <a:gs pos="30000">
                        <a:srgbClr val="FFFFFF"/>
                      </a:gs>
                    </a:gsLst>
                    <a:lin ang="5400000" scaled="0"/>
                  </a:gradFill>
                  <a:latin typeface="Segoe UI Light"/>
                </a:rPr>
                <a:t>Reduce CAPEX + OPEX</a:t>
              </a:r>
            </a:p>
          </p:txBody>
        </p:sp>
        <p:grpSp>
          <p:nvGrpSpPr>
            <p:cNvPr id="209" name="Group 208"/>
            <p:cNvGrpSpPr/>
            <p:nvPr/>
          </p:nvGrpSpPr>
          <p:grpSpPr>
            <a:xfrm>
              <a:off x="8400661" y="4959635"/>
              <a:ext cx="244523" cy="181973"/>
              <a:chOff x="6952649" y="2221784"/>
              <a:chExt cx="408353" cy="303894"/>
            </a:xfrm>
          </p:grpSpPr>
          <p:cxnSp>
            <p:nvCxnSpPr>
              <p:cNvPr id="210" name="Straight Connector 209"/>
              <p:cNvCxnSpPr>
                <a:cxnSpLocks/>
              </p:cNvCxnSpPr>
              <p:nvPr/>
            </p:nvCxnSpPr>
            <p:spPr>
              <a:xfrm flipH="1">
                <a:off x="7057108" y="2221784"/>
                <a:ext cx="303894" cy="303894"/>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a:off x="6952649" y="2407497"/>
                <a:ext cx="118181" cy="118181"/>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12" name="TextBox 211"/>
            <p:cNvSpPr txBox="1"/>
            <p:nvPr/>
          </p:nvSpPr>
          <p:spPr>
            <a:xfrm>
              <a:off x="8694173" y="4784609"/>
              <a:ext cx="3255427" cy="860492"/>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000" kern="0" dirty="0">
                  <a:gradFill>
                    <a:gsLst>
                      <a:gs pos="2917">
                        <a:srgbClr val="FFFFFF"/>
                      </a:gs>
                      <a:gs pos="30000">
                        <a:srgbClr val="FFFFFF"/>
                      </a:gs>
                    </a:gsLst>
                    <a:lin ang="5400000" scaled="0"/>
                  </a:gradFill>
                  <a:latin typeface="Segoe UI Light"/>
                </a:rPr>
                <a:t>More migrations to SQL Database over time</a:t>
              </a:r>
            </a:p>
          </p:txBody>
        </p:sp>
      </p:grpSp>
    </p:spTree>
    <p:extLst>
      <p:ext uri="{BB962C8B-B14F-4D97-AF65-F5344CB8AC3E}">
        <p14:creationId xmlns:p14="http://schemas.microsoft.com/office/powerpoint/2010/main" val="968581371"/>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13"/>
                                        </p:tgtEl>
                                        <p:attrNameLst>
                                          <p:attrName>style.visibility</p:attrName>
                                        </p:attrNameLst>
                                      </p:cBhvr>
                                      <p:to>
                                        <p:strVal val="visible"/>
                                      </p:to>
                                    </p:set>
                                    <p:animEffect transition="in" filter="fade">
                                      <p:cBhvr>
                                        <p:cTn id="7" dur="500"/>
                                        <p:tgtEl>
                                          <p:spTgt spid="21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14"/>
                                        </p:tgtEl>
                                        <p:attrNameLst>
                                          <p:attrName>style.visibility</p:attrName>
                                        </p:attrNameLst>
                                      </p:cBhvr>
                                      <p:to>
                                        <p:strVal val="visible"/>
                                      </p:to>
                                    </p:set>
                                    <p:animEffect transition="in" filter="fade">
                                      <p:cBhvr>
                                        <p:cTn id="11" dur="500"/>
                                        <p:tgtEl>
                                          <p:spTgt spid="21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75"/>
                                        </p:tgtEl>
                                        <p:attrNameLst>
                                          <p:attrName>style.visibility</p:attrName>
                                        </p:attrNameLst>
                                      </p:cBhvr>
                                      <p:to>
                                        <p:strVal val="visible"/>
                                      </p:to>
                                    </p:set>
                                    <p:animEffect transition="in" filter="fade">
                                      <p:cBhvr>
                                        <p:cTn id="15" dur="500"/>
                                        <p:tgtEl>
                                          <p:spTgt spid="17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15"/>
                                        </p:tgtEl>
                                        <p:attrNameLst>
                                          <p:attrName>style.visibility</p:attrName>
                                        </p:attrNameLst>
                                      </p:cBhvr>
                                      <p:to>
                                        <p:strVal val="visible"/>
                                      </p:to>
                                    </p:set>
                                    <p:animEffect transition="in" filter="fade">
                                      <p:cBhvr>
                                        <p:cTn id="19" dur="500"/>
                                        <p:tgtEl>
                                          <p:spTgt spid="215"/>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16"/>
                                        </p:tgtEl>
                                        <p:attrNameLst>
                                          <p:attrName>style.visibility</p:attrName>
                                        </p:attrNameLst>
                                      </p:cBhvr>
                                      <p:to>
                                        <p:strVal val="visible"/>
                                      </p:to>
                                    </p:set>
                                    <p:animEffect transition="in" filter="fade">
                                      <p:cBhvr>
                                        <p:cTn id="23" dur="500"/>
                                        <p:tgtEl>
                                          <p:spTgt spid="2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F2FE0E67-30B5-4BD2-930E-C1FAC260C376}"/>
              </a:ext>
            </a:extLst>
          </p:cNvPr>
          <p:cNvSpPr/>
          <p:nvPr/>
        </p:nvSpPr>
        <p:spPr bwMode="auto">
          <a:xfrm>
            <a:off x="-10351" y="-3737"/>
            <a:ext cx="12216773" cy="88530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solidFill>
                <a:srgbClr val="000000"/>
              </a:solidFill>
              <a:latin typeface="Segoe UI"/>
            </a:endParaRPr>
          </a:p>
        </p:txBody>
      </p:sp>
      <p:pic>
        <p:nvPicPr>
          <p:cNvPr id="18" name="Picture 17"/>
          <p:cNvPicPr>
            <a:picLocks noChangeAspect="1"/>
          </p:cNvPicPr>
          <p:nvPr/>
        </p:nvPicPr>
        <p:blipFill>
          <a:blip r:embed="rId3"/>
          <a:stretch>
            <a:fillRect/>
          </a:stretch>
        </p:blipFill>
        <p:spPr>
          <a:xfrm>
            <a:off x="-1853402" y="2896225"/>
            <a:ext cx="3488998" cy="2313528"/>
          </a:xfrm>
          <a:prstGeom prst="rect">
            <a:avLst/>
          </a:prstGeom>
        </p:spPr>
      </p:pic>
      <p:grpSp>
        <p:nvGrpSpPr>
          <p:cNvPr id="56" name="Group 55"/>
          <p:cNvGrpSpPr/>
          <p:nvPr/>
        </p:nvGrpSpPr>
        <p:grpSpPr>
          <a:xfrm>
            <a:off x="909179" y="3081493"/>
            <a:ext cx="3440981" cy="1942989"/>
            <a:chOff x="2903001" y="2210542"/>
            <a:chExt cx="3441469" cy="1943265"/>
          </a:xfrm>
          <a:noFill/>
        </p:grpSpPr>
        <p:sp>
          <p:nvSpPr>
            <p:cNvPr id="12" name="Rectangle 11"/>
            <p:cNvSpPr/>
            <p:nvPr/>
          </p:nvSpPr>
          <p:spPr bwMode="auto">
            <a:xfrm>
              <a:off x="2903001" y="2210542"/>
              <a:ext cx="3441469" cy="1908699"/>
            </a:xfrm>
            <a:prstGeom prst="rect">
              <a:avLst/>
            </a:prstGeom>
            <a:grpFill/>
            <a:ln w="127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solidFill>
                  <a:srgbClr val="FFFFFF"/>
                </a:solidFill>
                <a:latin typeface="Segoe UI"/>
                <a:ea typeface="Segoe UI" pitchFamily="34" charset="0"/>
                <a:cs typeface="Segoe UI" pitchFamily="34" charset="0"/>
              </a:endParaRPr>
            </a:p>
          </p:txBody>
        </p:sp>
        <p:sp>
          <p:nvSpPr>
            <p:cNvPr id="20" name="Rectangle 19"/>
            <p:cNvSpPr/>
            <p:nvPr/>
          </p:nvSpPr>
          <p:spPr>
            <a:xfrm>
              <a:off x="2903002" y="2278349"/>
              <a:ext cx="2204674" cy="375205"/>
            </a:xfrm>
            <a:prstGeom prst="rect">
              <a:avLst/>
            </a:prstGeom>
            <a:grpFill/>
          </p:spPr>
          <p:txBody>
            <a:bodyPr wrap="square">
              <a:spAutoFit/>
            </a:bodyPr>
            <a:lstStyle/>
            <a:p>
              <a:pPr defTabSz="932563">
                <a:defRPr/>
              </a:pPr>
              <a:r>
                <a:rPr lang="en-US" b="1" kern="0" dirty="0">
                  <a:solidFill>
                    <a:srgbClr val="FFFFFF"/>
                  </a:solidFill>
                  <a:latin typeface="Segoe UI Light"/>
                </a:rPr>
                <a:t>Azure SQL Database</a:t>
              </a:r>
            </a:p>
          </p:txBody>
        </p:sp>
        <p:grpSp>
          <p:nvGrpSpPr>
            <p:cNvPr id="26" name="Group 25"/>
            <p:cNvGrpSpPr/>
            <p:nvPr/>
          </p:nvGrpSpPr>
          <p:grpSpPr>
            <a:xfrm>
              <a:off x="3089571" y="2800908"/>
              <a:ext cx="244523" cy="181973"/>
              <a:chOff x="6952649" y="2221784"/>
              <a:chExt cx="408353" cy="303894"/>
            </a:xfrm>
            <a:grpFill/>
          </p:grpSpPr>
          <p:cxnSp>
            <p:nvCxnSpPr>
              <p:cNvPr id="24" name="Straight Connector 23"/>
              <p:cNvCxnSpPr>
                <a:cxnSpLocks/>
              </p:cNvCxnSpPr>
              <p:nvPr/>
            </p:nvCxnSpPr>
            <p:spPr>
              <a:xfrm flipH="1">
                <a:off x="7057108" y="2221784"/>
                <a:ext cx="303894" cy="303894"/>
              </a:xfrm>
              <a:prstGeom prst="line">
                <a:avLst/>
              </a:prstGeom>
              <a:grpFill/>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952649" y="2407497"/>
                <a:ext cx="118181" cy="118181"/>
              </a:xfrm>
              <a:prstGeom prst="line">
                <a:avLst/>
              </a:prstGeom>
              <a:grpFill/>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TextBox 26"/>
            <p:cNvSpPr txBox="1"/>
            <p:nvPr/>
          </p:nvSpPr>
          <p:spPr>
            <a:xfrm>
              <a:off x="3383083" y="2625882"/>
              <a:ext cx="2384307" cy="577979"/>
            </a:xfrm>
            <a:prstGeom prst="rect">
              <a:avLst/>
            </a:prstGeom>
            <a:grpFill/>
          </p:spPr>
          <p:txBody>
            <a:bodyPr wrap="none" lIns="182854" tIns="146284" rIns="182854" bIns="146284" rtlCol="0">
              <a:spAutoFit/>
            </a:bodyPr>
            <a:lstStyle/>
            <a:p>
              <a:pPr defTabSz="914225">
                <a:lnSpc>
                  <a:spcPct val="90000"/>
                </a:lnSpc>
                <a:spcAft>
                  <a:spcPts val="600"/>
                </a:spcAft>
                <a:defRPr/>
              </a:pPr>
              <a:r>
                <a:rPr lang="en-US" sz="2000" kern="0" dirty="0">
                  <a:solidFill>
                    <a:srgbClr val="FFFFFF"/>
                  </a:solidFill>
                  <a:latin typeface="Segoe UI Light"/>
                </a:rPr>
                <a:t>Remove IT burden</a:t>
              </a:r>
            </a:p>
          </p:txBody>
        </p:sp>
        <p:grpSp>
          <p:nvGrpSpPr>
            <p:cNvPr id="28" name="Group 27"/>
            <p:cNvGrpSpPr/>
            <p:nvPr/>
          </p:nvGrpSpPr>
          <p:grpSpPr>
            <a:xfrm>
              <a:off x="3076010" y="3281352"/>
              <a:ext cx="244523" cy="181973"/>
              <a:chOff x="6952649" y="2221784"/>
              <a:chExt cx="408353" cy="303894"/>
            </a:xfrm>
            <a:grpFill/>
          </p:grpSpPr>
          <p:cxnSp>
            <p:nvCxnSpPr>
              <p:cNvPr id="29" name="Straight Connector 28"/>
              <p:cNvCxnSpPr>
                <a:cxnSpLocks/>
              </p:cNvCxnSpPr>
              <p:nvPr/>
            </p:nvCxnSpPr>
            <p:spPr>
              <a:xfrm flipH="1">
                <a:off x="7057108" y="2221784"/>
                <a:ext cx="303894" cy="303894"/>
              </a:xfrm>
              <a:prstGeom prst="line">
                <a:avLst/>
              </a:prstGeom>
              <a:grpFill/>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6952649" y="2407497"/>
                <a:ext cx="118181" cy="118181"/>
              </a:xfrm>
              <a:prstGeom prst="line">
                <a:avLst/>
              </a:prstGeom>
              <a:grpFill/>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1" name="TextBox 30"/>
            <p:cNvSpPr txBox="1"/>
            <p:nvPr/>
          </p:nvSpPr>
          <p:spPr>
            <a:xfrm>
              <a:off x="3369522" y="3106326"/>
              <a:ext cx="2717732" cy="577979"/>
            </a:xfrm>
            <a:prstGeom prst="rect">
              <a:avLst/>
            </a:prstGeom>
            <a:grpFill/>
          </p:spPr>
          <p:txBody>
            <a:bodyPr wrap="none" lIns="182854" tIns="146284" rIns="182854" bIns="146284" rtlCol="0">
              <a:spAutoFit/>
            </a:bodyPr>
            <a:lstStyle/>
            <a:p>
              <a:pPr defTabSz="914225">
                <a:lnSpc>
                  <a:spcPct val="90000"/>
                </a:lnSpc>
                <a:spcAft>
                  <a:spcPts val="600"/>
                </a:spcAft>
                <a:defRPr/>
              </a:pPr>
              <a:r>
                <a:rPr lang="en-US" sz="2000" kern="0" dirty="0">
                  <a:solidFill>
                    <a:srgbClr val="FFFFFF"/>
                  </a:solidFill>
                  <a:latin typeface="Segoe UI Light"/>
                </a:rPr>
                <a:t>Managed, HA built-in</a:t>
              </a:r>
            </a:p>
          </p:txBody>
        </p:sp>
        <p:grpSp>
          <p:nvGrpSpPr>
            <p:cNvPr id="32" name="Group 31"/>
            <p:cNvGrpSpPr/>
            <p:nvPr/>
          </p:nvGrpSpPr>
          <p:grpSpPr>
            <a:xfrm>
              <a:off x="3072549" y="3750854"/>
              <a:ext cx="244523" cy="181973"/>
              <a:chOff x="6952649" y="2221784"/>
              <a:chExt cx="408353" cy="303894"/>
            </a:xfrm>
            <a:grpFill/>
          </p:grpSpPr>
          <p:cxnSp>
            <p:nvCxnSpPr>
              <p:cNvPr id="33" name="Straight Connector 32"/>
              <p:cNvCxnSpPr>
                <a:cxnSpLocks/>
              </p:cNvCxnSpPr>
              <p:nvPr/>
            </p:nvCxnSpPr>
            <p:spPr>
              <a:xfrm flipH="1">
                <a:off x="7057108" y="2221784"/>
                <a:ext cx="303894" cy="303894"/>
              </a:xfrm>
              <a:prstGeom prst="line">
                <a:avLst/>
              </a:prstGeom>
              <a:grpFill/>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6952649" y="2407497"/>
                <a:ext cx="118181" cy="118181"/>
              </a:xfrm>
              <a:prstGeom prst="line">
                <a:avLst/>
              </a:prstGeom>
              <a:grpFill/>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5" name="TextBox 34"/>
            <p:cNvSpPr txBox="1"/>
            <p:nvPr/>
          </p:nvSpPr>
          <p:spPr>
            <a:xfrm>
              <a:off x="3366061" y="3575828"/>
              <a:ext cx="2727350" cy="577979"/>
            </a:xfrm>
            <a:prstGeom prst="rect">
              <a:avLst/>
            </a:prstGeom>
            <a:grpFill/>
          </p:spPr>
          <p:txBody>
            <a:bodyPr wrap="none" lIns="182854" tIns="146284" rIns="182854" bIns="146284" rtlCol="0">
              <a:spAutoFit/>
            </a:bodyPr>
            <a:lstStyle/>
            <a:p>
              <a:pPr defTabSz="914225">
                <a:lnSpc>
                  <a:spcPct val="90000"/>
                </a:lnSpc>
                <a:spcAft>
                  <a:spcPts val="600"/>
                </a:spcAft>
                <a:defRPr/>
              </a:pPr>
              <a:r>
                <a:rPr lang="en-US" sz="2000" kern="0" dirty="0">
                  <a:solidFill>
                    <a:srgbClr val="FFFFFF"/>
                  </a:solidFill>
                  <a:latin typeface="Segoe UI Light"/>
                </a:rPr>
                <a:t>Manage 1000s as one</a:t>
              </a:r>
            </a:p>
          </p:txBody>
        </p:sp>
      </p:grpSp>
      <p:sp>
        <p:nvSpPr>
          <p:cNvPr id="54" name="Rectangle 53">
            <a:extLst>
              <a:ext uri="{FF2B5EF4-FFF2-40B4-BE49-F238E27FC236}">
                <a16:creationId xmlns:a16="http://schemas.microsoft.com/office/drawing/2014/main" id="{7ACB9BD0-F958-4AEA-AC15-1336D71A0409}"/>
              </a:ext>
            </a:extLst>
          </p:cNvPr>
          <p:cNvSpPr/>
          <p:nvPr/>
        </p:nvSpPr>
        <p:spPr>
          <a:xfrm>
            <a:off x="5647788" y="1410369"/>
            <a:ext cx="5968205" cy="4517410"/>
          </a:xfrm>
          <a:prstGeom prst="rect">
            <a:avLst/>
          </a:prstGeom>
        </p:spPr>
        <p:txBody>
          <a:bodyPr wrap="square">
            <a:spAutoFit/>
          </a:bodyPr>
          <a:lstStyle/>
          <a:p>
            <a:pPr marL="336145" indent="-336145" defTabSz="914367">
              <a:spcAft>
                <a:spcPts val="588"/>
              </a:spcAft>
              <a:buFont typeface="Arial" panose="020B0604020202020204" pitchFamily="34" charset="0"/>
              <a:buChar cha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4592 Azure SQL Databases</a:t>
            </a:r>
          </a:p>
          <a:p>
            <a:pPr marL="336145" indent="-336145" defTabSz="914367">
              <a:spcAft>
                <a:spcPts val="588"/>
              </a:spcAft>
              <a:buFont typeface="Arial" panose="020B0604020202020204" pitchFamily="34" charset="0"/>
              <a:buChar cha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Automatic Index Management</a:t>
            </a:r>
          </a:p>
          <a:p>
            <a:pPr marL="569876" lvl="5" defTabSz="914367">
              <a:spcAft>
                <a:spcPts val="588"/>
              </a:spcAft>
            </a:pPr>
            <a:r>
              <a:rPr lang="en-US" sz="1765" kern="0" dirty="0">
                <a:solidFill>
                  <a:srgbClr val="FFFFFF"/>
                </a:solidFill>
                <a:latin typeface="Segoe UI Semilight" panose="020B0402040204020203" pitchFamily="34" charset="0"/>
                <a:cs typeface="Segoe UI Semilight" panose="020B0402040204020203" pitchFamily="34" charset="0"/>
              </a:rPr>
              <a:t>Improved over 1K queries </a:t>
            </a:r>
          </a:p>
          <a:p>
            <a:pPr marL="569876" lvl="5" defTabSz="914367">
              <a:spcAft>
                <a:spcPts val="588"/>
              </a:spcAft>
            </a:pPr>
            <a:r>
              <a:rPr lang="en-US" sz="1765" kern="0" dirty="0">
                <a:solidFill>
                  <a:srgbClr val="FFFFFF"/>
                </a:solidFill>
                <a:latin typeface="Segoe UI Semilight" panose="020B0402040204020203" pitchFamily="34" charset="0"/>
                <a:cs typeface="Segoe UI Semilight" panose="020B0402040204020203" pitchFamily="34" charset="0"/>
              </a:rPr>
              <a:t>20.4 hours of CPU less every day</a:t>
            </a:r>
          </a:p>
          <a:p>
            <a:pPr marL="569876" lvl="5" defTabSz="914367">
              <a:spcAft>
                <a:spcPts val="588"/>
              </a:spcAft>
            </a:pPr>
            <a:r>
              <a:rPr lang="en-US" sz="1765" kern="0" dirty="0">
                <a:solidFill>
                  <a:srgbClr val="FFFFFF"/>
                </a:solidFill>
                <a:latin typeface="Segoe UI Semilight" panose="020B0402040204020203" pitchFamily="34" charset="0"/>
                <a:cs typeface="Segoe UI Semilight" panose="020B0402040204020203" pitchFamily="34" charset="0"/>
              </a:rPr>
              <a:t>Reduced daily amount of logical reads by about 31 billion</a:t>
            </a:r>
            <a:endParaRPr lang="en-US" dirty="0">
              <a:solidFill>
                <a:srgbClr val="FFFFFF"/>
              </a:solidFill>
              <a:latin typeface="Segoe UI"/>
            </a:endParaRPr>
          </a:p>
          <a:p>
            <a:pPr marL="336145" indent="-336145" defTabSz="914367">
              <a:spcAft>
                <a:spcPts val="588"/>
              </a:spcAft>
              <a:buFont typeface="Arial" panose="020B0604020202020204" pitchFamily="34" charset="0"/>
              <a:buChar cha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Automated Plan Correction</a:t>
            </a:r>
          </a:p>
          <a:p>
            <a:pPr marL="569946" lvl="6" defTabSz="914367">
              <a:spcAft>
                <a:spcPts val="588"/>
              </a:spcAft>
            </a:pPr>
            <a:r>
              <a:rPr lang="en-US" sz="1765" kern="0" dirty="0">
                <a:solidFill>
                  <a:srgbClr val="FFFFFF"/>
                </a:solidFill>
                <a:latin typeface="Segoe UI Semilight" panose="020B0402040204020203" pitchFamily="34" charset="0"/>
                <a:cs typeface="Segoe UI Semilight" panose="020B0402040204020203" pitchFamily="34" charset="0"/>
              </a:rPr>
              <a:t>Best plan forcing saved 35 hours per day in total 0.5 seconds per query execution</a:t>
            </a:r>
          </a:p>
          <a:p>
            <a:pPr marL="569946" lvl="6" defTabSz="914367">
              <a:spcAft>
                <a:spcPts val="588"/>
              </a:spcAft>
            </a:pPr>
            <a:r>
              <a:rPr lang="en-US" sz="1765" kern="0" dirty="0">
                <a:solidFill>
                  <a:srgbClr val="FFFFFF"/>
                </a:solidFill>
                <a:latin typeface="Segoe UI Semilight" panose="020B0402040204020203" pitchFamily="34" charset="0"/>
                <a:cs typeface="Segoe UI Semilight" panose="020B0402040204020203" pitchFamily="34" charset="0"/>
              </a:rPr>
              <a:t>Best per query execution savings achieved by automatic plan forcing was 536 seconds</a:t>
            </a:r>
          </a:p>
          <a:p>
            <a:pPr marL="569946" lvl="6" defTabSz="914367">
              <a:spcAft>
                <a:spcPts val="588"/>
              </a:spcAft>
            </a:pPr>
            <a:r>
              <a:rPr lang="en-US" sz="1765" kern="0" dirty="0">
                <a:solidFill>
                  <a:srgbClr val="FFFFFF"/>
                </a:solidFill>
                <a:latin typeface="Segoe UI Semilight" panose="020B0402040204020203" pitchFamily="34" charset="0"/>
                <a:cs typeface="Segoe UI Semilight" panose="020B0402040204020203" pitchFamily="34" charset="0"/>
              </a:rPr>
              <a:t>Total estimated daily savings are estimated at about 160 CPU hours per day  </a:t>
            </a:r>
          </a:p>
        </p:txBody>
      </p:sp>
      <p:sp>
        <p:nvSpPr>
          <p:cNvPr id="58" name="Title 1">
            <a:extLst>
              <a:ext uri="{FF2B5EF4-FFF2-40B4-BE49-F238E27FC236}">
                <a16:creationId xmlns:a16="http://schemas.microsoft.com/office/drawing/2014/main" id="{BA5704BF-228B-4E79-B6E1-98BB27166CDA}"/>
              </a:ext>
            </a:extLst>
          </p:cNvPr>
          <p:cNvSpPr>
            <a:spLocks noGrp="1"/>
          </p:cNvSpPr>
          <p:nvPr>
            <p:ph type="title" idx="4294967295"/>
          </p:nvPr>
        </p:nvSpPr>
        <p:spPr>
          <a:xfrm>
            <a:off x="0" y="112541"/>
            <a:ext cx="11381172" cy="893312"/>
          </a:xfrm>
        </p:spPr>
        <p:txBody>
          <a:bodyPr/>
          <a:lstStyle/>
          <a:p>
            <a:pPr algn="ctr"/>
            <a:r>
              <a:rPr lang="en-US" sz="3137" cap="all" spc="500" dirty="0">
                <a:solidFill>
                  <a:schemeClr val="bg2"/>
                </a:solidFill>
                <a:latin typeface="Segoe UI Semilight" charset="0"/>
                <a:cs typeface="Segoe UI Semilight" charset="0"/>
              </a:rPr>
              <a:t>Automatic Tuning Benefits</a:t>
            </a:r>
            <a:br>
              <a:rPr lang="en-US" sz="5399" dirty="0">
                <a:solidFill>
                  <a:schemeClr val="bg2"/>
                </a:solidFill>
              </a:rPr>
            </a:br>
            <a:endParaRPr lang="en-US" dirty="0">
              <a:solidFill>
                <a:schemeClr val="bg2"/>
              </a:solidFill>
            </a:endParaRPr>
          </a:p>
        </p:txBody>
      </p:sp>
    </p:spTree>
    <p:extLst>
      <p:ext uri="{BB962C8B-B14F-4D97-AF65-F5344CB8AC3E}">
        <p14:creationId xmlns:p14="http://schemas.microsoft.com/office/powerpoint/2010/main" val="1294720657"/>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500"/>
                                        <p:tgtEl>
                                          <p:spTgt spid="1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6"/>
                                        </p:tgtEl>
                                        <p:attrNameLst>
                                          <p:attrName>style.visibility</p:attrName>
                                        </p:attrNameLst>
                                      </p:cBhvr>
                                      <p:to>
                                        <p:strVal val="visible"/>
                                      </p:to>
                                    </p:set>
                                    <p:animEffect transition="in" filter="fade">
                                      <p:cBhvr>
                                        <p:cTn id="11"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4CE2B1E-CE93-4767-8D1E-631B6CECC297}"/>
              </a:ext>
            </a:extLst>
          </p:cNvPr>
          <p:cNvSpPr/>
          <p:nvPr/>
        </p:nvSpPr>
        <p:spPr bwMode="auto">
          <a:xfrm>
            <a:off x="-10351" y="-3737"/>
            <a:ext cx="12216773" cy="88530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solidFill>
                <a:srgbClr val="000000"/>
              </a:solidFill>
              <a:latin typeface="Segoe UI"/>
            </a:endParaRPr>
          </a:p>
        </p:txBody>
      </p:sp>
      <p:sp>
        <p:nvSpPr>
          <p:cNvPr id="10" name="Title 9">
            <a:extLst>
              <a:ext uri="{FF2B5EF4-FFF2-40B4-BE49-F238E27FC236}">
                <a16:creationId xmlns:a16="http://schemas.microsoft.com/office/drawing/2014/main" id="{500B74A1-6690-4932-8894-3AE37AB836C7}"/>
              </a:ext>
            </a:extLst>
          </p:cNvPr>
          <p:cNvSpPr>
            <a:spLocks noGrp="1"/>
          </p:cNvSpPr>
          <p:nvPr>
            <p:ph type="title" idx="4294967295"/>
          </p:nvPr>
        </p:nvSpPr>
        <p:spPr>
          <a:xfrm>
            <a:off x="0" y="142110"/>
            <a:ext cx="11698655" cy="1045829"/>
          </a:xfrm>
        </p:spPr>
        <p:txBody>
          <a:bodyPr/>
          <a:lstStyle/>
          <a:p>
            <a:pPr algn="ctr"/>
            <a:r>
              <a:rPr lang="en-US" sz="3137" cap="all" spc="500" dirty="0">
                <a:solidFill>
                  <a:schemeClr val="bg2"/>
                </a:solidFill>
                <a:latin typeface="Segoe UI Semilight" charset="0"/>
                <a:cs typeface="Segoe UI Semilight" charset="0"/>
              </a:rPr>
              <a:t>Optimizing Cost Automatically</a:t>
            </a:r>
          </a:p>
        </p:txBody>
      </p:sp>
      <p:sp>
        <p:nvSpPr>
          <p:cNvPr id="3" name="Text Placeholder 2">
            <a:extLst>
              <a:ext uri="{FF2B5EF4-FFF2-40B4-BE49-F238E27FC236}">
                <a16:creationId xmlns:a16="http://schemas.microsoft.com/office/drawing/2014/main" id="{442299B0-63EC-4B33-AA90-484252D0B8AE}"/>
              </a:ext>
            </a:extLst>
          </p:cNvPr>
          <p:cNvSpPr>
            <a:spLocks noGrp="1"/>
          </p:cNvSpPr>
          <p:nvPr>
            <p:ph type="body" sz="quarter" idx="4294967295"/>
          </p:nvPr>
        </p:nvSpPr>
        <p:spPr>
          <a:xfrm>
            <a:off x="3460185" y="4997745"/>
            <a:ext cx="8537278" cy="1419339"/>
          </a:xfrm>
        </p:spPr>
        <p:txBody>
          <a:bodyPr>
            <a:normAutofit/>
          </a:bodyPr>
          <a:lstStyle/>
          <a:p>
            <a:pPr marL="336016" lvl="1" indent="0">
              <a:buNone/>
            </a:pPr>
            <a:r>
              <a:rPr lang="en-US" dirty="0">
                <a:latin typeface="+mj-lt"/>
                <a:cs typeface="Segoe UI Semibold" panose="020B0702040204020203" pitchFamily="34" charset="0"/>
              </a:rPr>
              <a:t>Service Tier Advisor </a:t>
            </a:r>
            <a:r>
              <a:rPr lang="en-US" dirty="0">
                <a:latin typeface="Segoe UI Semibold" panose="020B0702040204020203" pitchFamily="34" charset="0"/>
                <a:cs typeface="Segoe UI Semibold" panose="020B0702040204020203" pitchFamily="34" charset="0"/>
              </a:rPr>
              <a:t>provided insights to both receive recommendations and a dashboard into application workload behaviors</a:t>
            </a:r>
          </a:p>
        </p:txBody>
      </p:sp>
      <p:graphicFrame>
        <p:nvGraphicFramePr>
          <p:cNvPr id="2" name="Table 1">
            <a:extLst>
              <a:ext uri="{FF2B5EF4-FFF2-40B4-BE49-F238E27FC236}">
                <a16:creationId xmlns:a16="http://schemas.microsoft.com/office/drawing/2014/main" id="{50700CF4-28E9-4488-BCF7-E5CE804194A6}"/>
              </a:ext>
            </a:extLst>
          </p:cNvPr>
          <p:cNvGraphicFramePr>
            <a:graphicFrameLocks noGrp="1"/>
          </p:cNvGraphicFramePr>
          <p:nvPr>
            <p:extLst/>
          </p:nvPr>
        </p:nvGraphicFramePr>
        <p:xfrm>
          <a:off x="4587175" y="2488830"/>
          <a:ext cx="5303846" cy="2059686"/>
        </p:xfrm>
        <a:graphic>
          <a:graphicData uri="http://schemas.openxmlformats.org/drawingml/2006/table">
            <a:tbl>
              <a:tblPr firstRow="1">
                <a:tableStyleId>{616DA210-FB5B-4158-B5E0-FEB733F419BA}</a:tableStyleId>
              </a:tblPr>
              <a:tblGrid>
                <a:gridCol w="2539869">
                  <a:extLst>
                    <a:ext uri="{9D8B030D-6E8A-4147-A177-3AD203B41FA5}">
                      <a16:colId xmlns:a16="http://schemas.microsoft.com/office/drawing/2014/main" val="3591527852"/>
                    </a:ext>
                  </a:extLst>
                </a:gridCol>
                <a:gridCol w="2763977">
                  <a:extLst>
                    <a:ext uri="{9D8B030D-6E8A-4147-A177-3AD203B41FA5}">
                      <a16:colId xmlns:a16="http://schemas.microsoft.com/office/drawing/2014/main" val="3543323159"/>
                    </a:ext>
                  </a:extLst>
                </a:gridCol>
              </a:tblGrid>
              <a:tr h="450786">
                <a:tc>
                  <a:txBody>
                    <a:bodyPr/>
                    <a:lstStyle/>
                    <a:p>
                      <a:pPr algn="ctr"/>
                      <a:r>
                        <a:rPr lang="en-US" sz="1800" dirty="0"/>
                        <a:t>Activity</a:t>
                      </a:r>
                    </a:p>
                  </a:txBody>
                  <a:tcPr marL="91427" marR="91427" marT="45713" marB="45713"/>
                </a:tc>
                <a:tc>
                  <a:txBody>
                    <a:bodyPr/>
                    <a:lstStyle/>
                    <a:p>
                      <a:pPr algn="ctr"/>
                      <a:r>
                        <a:rPr lang="en-US" sz="1800" dirty="0"/>
                        <a:t>Actual 16 months</a:t>
                      </a:r>
                    </a:p>
                  </a:txBody>
                  <a:tcPr marL="91427" marR="91427" marT="45713" marB="45713"/>
                </a:tc>
                <a:extLst>
                  <a:ext uri="{0D108BD9-81ED-4DB2-BD59-A6C34878D82A}">
                    <a16:rowId xmlns:a16="http://schemas.microsoft.com/office/drawing/2014/main" val="2002612103"/>
                  </a:ext>
                </a:extLst>
              </a:tr>
              <a:tr h="402225">
                <a:tc>
                  <a:txBody>
                    <a:bodyPr/>
                    <a:lstStyle/>
                    <a:p>
                      <a:r>
                        <a:rPr lang="en-US" sz="1800" dirty="0"/>
                        <a:t>Downsize</a:t>
                      </a:r>
                    </a:p>
                  </a:txBody>
                  <a:tcPr marL="91427" marR="91427" marT="45713" marB="45713"/>
                </a:tc>
                <a:tc>
                  <a:txBody>
                    <a:bodyPr/>
                    <a:lstStyle/>
                    <a:p>
                      <a:pPr algn="ctr"/>
                      <a:r>
                        <a:rPr lang="en-US" sz="1800" dirty="0"/>
                        <a:t>4,047</a:t>
                      </a:r>
                    </a:p>
                  </a:txBody>
                  <a:tcPr marL="91427" marR="91427" marT="45713" marB="45713"/>
                </a:tc>
                <a:extLst>
                  <a:ext uri="{0D108BD9-81ED-4DB2-BD59-A6C34878D82A}">
                    <a16:rowId xmlns:a16="http://schemas.microsoft.com/office/drawing/2014/main" val="1422266039"/>
                  </a:ext>
                </a:extLst>
              </a:tr>
              <a:tr h="402225">
                <a:tc>
                  <a:txBody>
                    <a:bodyPr/>
                    <a:lstStyle/>
                    <a:p>
                      <a:r>
                        <a:rPr lang="en-US" sz="1800" dirty="0"/>
                        <a:t>Deletes</a:t>
                      </a:r>
                    </a:p>
                  </a:txBody>
                  <a:tcPr marL="91427" marR="91427" marT="45713" marB="45713"/>
                </a:tc>
                <a:tc>
                  <a:txBody>
                    <a:bodyPr/>
                    <a:lstStyle/>
                    <a:p>
                      <a:pPr algn="ctr"/>
                      <a:r>
                        <a:rPr lang="en-US" sz="1800" dirty="0"/>
                        <a:t>13,816</a:t>
                      </a:r>
                    </a:p>
                  </a:txBody>
                  <a:tcPr marL="91427" marR="91427" marT="45713" marB="45713"/>
                </a:tc>
                <a:extLst>
                  <a:ext uri="{0D108BD9-81ED-4DB2-BD59-A6C34878D82A}">
                    <a16:rowId xmlns:a16="http://schemas.microsoft.com/office/drawing/2014/main" val="2109203136"/>
                  </a:ext>
                </a:extLst>
              </a:tr>
              <a:tr h="402225">
                <a:tc>
                  <a:txBody>
                    <a:bodyPr/>
                    <a:lstStyle/>
                    <a:p>
                      <a:r>
                        <a:rPr lang="en-US" sz="1800" dirty="0"/>
                        <a:t>Savings</a:t>
                      </a:r>
                    </a:p>
                  </a:txBody>
                  <a:tcPr marL="91427" marR="91427" marT="45713" marB="45713"/>
                </a:tc>
                <a:tc>
                  <a:txBody>
                    <a:bodyPr/>
                    <a:lstStyle/>
                    <a:p>
                      <a:pPr algn="ctr"/>
                      <a:r>
                        <a:rPr lang="en-US" sz="1800" b="1" dirty="0"/>
                        <a:t>$3,721,700</a:t>
                      </a:r>
                    </a:p>
                  </a:txBody>
                  <a:tcPr marL="91427" marR="91427" marT="45713" marB="45713"/>
                </a:tc>
                <a:extLst>
                  <a:ext uri="{0D108BD9-81ED-4DB2-BD59-A6C34878D82A}">
                    <a16:rowId xmlns:a16="http://schemas.microsoft.com/office/drawing/2014/main" val="2485086154"/>
                  </a:ext>
                </a:extLst>
              </a:tr>
              <a:tr h="402225">
                <a:tc>
                  <a:txBody>
                    <a:bodyPr/>
                    <a:lstStyle/>
                    <a:p>
                      <a:r>
                        <a:rPr lang="en-US" sz="1800" dirty="0"/>
                        <a:t>Reported incidents</a:t>
                      </a:r>
                    </a:p>
                  </a:txBody>
                  <a:tcPr marL="91427" marR="91427" marT="45713" marB="45713"/>
                </a:tc>
                <a:tc>
                  <a:txBody>
                    <a:bodyPr/>
                    <a:lstStyle/>
                    <a:p>
                      <a:pPr algn="ctr"/>
                      <a:r>
                        <a:rPr lang="en-US" sz="1800" dirty="0"/>
                        <a:t>2</a:t>
                      </a:r>
                    </a:p>
                  </a:txBody>
                  <a:tcPr marL="91427" marR="91427" marT="45713" marB="45713"/>
                </a:tc>
                <a:extLst>
                  <a:ext uri="{0D108BD9-81ED-4DB2-BD59-A6C34878D82A}">
                    <a16:rowId xmlns:a16="http://schemas.microsoft.com/office/drawing/2014/main" val="607119961"/>
                  </a:ext>
                </a:extLst>
              </a:tr>
            </a:tbl>
          </a:graphicData>
        </a:graphic>
      </p:graphicFrame>
      <p:pic>
        <p:nvPicPr>
          <p:cNvPr id="7" name="Picture 6">
            <a:extLst>
              <a:ext uri="{FF2B5EF4-FFF2-40B4-BE49-F238E27FC236}">
                <a16:creationId xmlns:a16="http://schemas.microsoft.com/office/drawing/2014/main" id="{7F7A5E59-9007-44EB-BC26-A1421AF65872}"/>
              </a:ext>
            </a:extLst>
          </p:cNvPr>
          <p:cNvPicPr>
            <a:picLocks noChangeAspect="1"/>
          </p:cNvPicPr>
          <p:nvPr/>
        </p:nvPicPr>
        <p:blipFill>
          <a:blip r:embed="rId3"/>
          <a:stretch>
            <a:fillRect/>
          </a:stretch>
        </p:blipFill>
        <p:spPr>
          <a:xfrm>
            <a:off x="343941" y="1038534"/>
            <a:ext cx="2772305" cy="5585500"/>
          </a:xfrm>
          <a:prstGeom prst="rect">
            <a:avLst/>
          </a:prstGeom>
        </p:spPr>
      </p:pic>
      <p:pic>
        <p:nvPicPr>
          <p:cNvPr id="9" name="Picture 8">
            <a:extLst>
              <a:ext uri="{FF2B5EF4-FFF2-40B4-BE49-F238E27FC236}">
                <a16:creationId xmlns:a16="http://schemas.microsoft.com/office/drawing/2014/main" id="{B4C3A3F7-9CCE-45E0-9DBA-43AF9334DC39}"/>
              </a:ext>
            </a:extLst>
          </p:cNvPr>
          <p:cNvPicPr>
            <a:picLocks noChangeAspect="1"/>
          </p:cNvPicPr>
          <p:nvPr/>
        </p:nvPicPr>
        <p:blipFill>
          <a:blip r:embed="rId4"/>
          <a:stretch>
            <a:fillRect/>
          </a:stretch>
        </p:blipFill>
        <p:spPr>
          <a:xfrm>
            <a:off x="3257322" y="1081746"/>
            <a:ext cx="7963552" cy="1120531"/>
          </a:xfrm>
          <a:prstGeom prst="rect">
            <a:avLst/>
          </a:prstGeom>
        </p:spPr>
      </p:pic>
    </p:spTree>
    <p:extLst>
      <p:ext uri="{BB962C8B-B14F-4D97-AF65-F5344CB8AC3E}">
        <p14:creationId xmlns:p14="http://schemas.microsoft.com/office/powerpoint/2010/main" val="136644719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29C588-99F2-4826-9B20-9EE4E2BB880F}"/>
              </a:ext>
            </a:extLst>
          </p:cNvPr>
          <p:cNvSpPr/>
          <p:nvPr/>
        </p:nvSpPr>
        <p:spPr bwMode="auto">
          <a:xfrm>
            <a:off x="0" y="1087"/>
            <a:ext cx="12216773" cy="885305"/>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rgbClr val="000000"/>
              </a:solidFill>
              <a:latin typeface="Segoe UI"/>
            </a:endParaRPr>
          </a:p>
        </p:txBody>
      </p:sp>
      <p:sp>
        <p:nvSpPr>
          <p:cNvPr id="4" name="Rectangle 3">
            <a:extLst>
              <a:ext uri="{FF2B5EF4-FFF2-40B4-BE49-F238E27FC236}">
                <a16:creationId xmlns:a16="http://schemas.microsoft.com/office/drawing/2014/main" id="{0EAF52E6-511B-4119-9E59-CE544F79C18E}"/>
              </a:ext>
            </a:extLst>
          </p:cNvPr>
          <p:cNvSpPr/>
          <p:nvPr/>
        </p:nvSpPr>
        <p:spPr>
          <a:xfrm>
            <a:off x="6167691" y="1039859"/>
            <a:ext cx="3263095" cy="362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algn="ctr" defTabSz="914225"/>
            <a:r>
              <a:rPr lang="en-US" sz="1765" kern="0" spc="100" dirty="0">
                <a:solidFill>
                  <a:srgbClr val="FFFFFF"/>
                </a:solidFill>
                <a:latin typeface="Segoe UI Semibold" charset="0"/>
                <a:cs typeface="Segoe UI Semibold" charset="0"/>
              </a:rPr>
              <a:t>Seamless and compatible</a:t>
            </a:r>
          </a:p>
        </p:txBody>
      </p:sp>
      <p:sp>
        <p:nvSpPr>
          <p:cNvPr id="5" name="Rectangle 4">
            <a:extLst>
              <a:ext uri="{FF2B5EF4-FFF2-40B4-BE49-F238E27FC236}">
                <a16:creationId xmlns:a16="http://schemas.microsoft.com/office/drawing/2014/main" id="{7C0408DC-D536-4BE3-9D6D-1E9FDC215FD8}"/>
              </a:ext>
            </a:extLst>
          </p:cNvPr>
          <p:cNvSpPr/>
          <p:nvPr/>
        </p:nvSpPr>
        <p:spPr>
          <a:xfrm>
            <a:off x="363666" y="1026348"/>
            <a:ext cx="2688145" cy="362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algn="ctr" defTabSz="914225"/>
            <a:r>
              <a:rPr lang="en-US" sz="1765" kern="0" spc="100" dirty="0">
                <a:solidFill>
                  <a:srgbClr val="FFFFFF"/>
                </a:solidFill>
                <a:latin typeface="Segoe UI Semibold" charset="0"/>
                <a:cs typeface="Segoe UI Semibold" charset="0"/>
              </a:rPr>
              <a:t>Intelligent DBaaS</a:t>
            </a:r>
          </a:p>
        </p:txBody>
      </p:sp>
      <p:sp>
        <p:nvSpPr>
          <p:cNvPr id="6" name="Rectangle 5">
            <a:extLst>
              <a:ext uri="{FF2B5EF4-FFF2-40B4-BE49-F238E27FC236}">
                <a16:creationId xmlns:a16="http://schemas.microsoft.com/office/drawing/2014/main" id="{055C2F0F-2349-4C29-B4BD-5DFB150873A9}"/>
              </a:ext>
            </a:extLst>
          </p:cNvPr>
          <p:cNvSpPr/>
          <p:nvPr/>
        </p:nvSpPr>
        <p:spPr>
          <a:xfrm>
            <a:off x="9570709" y="1054129"/>
            <a:ext cx="2308745" cy="362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algn="ctr" defTabSz="914225"/>
            <a:r>
              <a:rPr lang="en-US" sz="1765" kern="0" spc="100" dirty="0">
                <a:ln w="3175">
                  <a:noFill/>
                </a:ln>
                <a:solidFill>
                  <a:srgbClr val="FFFFFF"/>
                </a:solidFill>
                <a:latin typeface="Segoe UI Semibold" charset="0"/>
                <a:cs typeface="Segoe UI Semibold" charset="0"/>
              </a:rPr>
              <a:t>Competitive TCO</a:t>
            </a:r>
          </a:p>
        </p:txBody>
      </p:sp>
      <p:grpSp>
        <p:nvGrpSpPr>
          <p:cNvPr id="42" name="Group 41">
            <a:extLst>
              <a:ext uri="{FF2B5EF4-FFF2-40B4-BE49-F238E27FC236}">
                <a16:creationId xmlns:a16="http://schemas.microsoft.com/office/drawing/2014/main" id="{089551D5-916D-421F-A97F-AEC5C7E8351A}"/>
              </a:ext>
            </a:extLst>
          </p:cNvPr>
          <p:cNvGrpSpPr/>
          <p:nvPr/>
        </p:nvGrpSpPr>
        <p:grpSpPr>
          <a:xfrm>
            <a:off x="3217104" y="1092136"/>
            <a:ext cx="227502" cy="240546"/>
            <a:chOff x="4157799" y="3257006"/>
            <a:chExt cx="1065166" cy="1065166"/>
          </a:xfrm>
        </p:grpSpPr>
        <p:sp>
          <p:nvSpPr>
            <p:cNvPr id="33" name="Freeform: Shape 32">
              <a:extLst>
                <a:ext uri="{FF2B5EF4-FFF2-40B4-BE49-F238E27FC236}">
                  <a16:creationId xmlns:a16="http://schemas.microsoft.com/office/drawing/2014/main" id="{84CAA8C5-59E5-476C-B8E8-5B4255597191}"/>
                </a:ext>
              </a:extLst>
            </p:cNvPr>
            <p:cNvSpPr/>
            <p:nvPr/>
          </p:nvSpPr>
          <p:spPr bwMode="auto">
            <a:xfrm>
              <a:off x="4157799" y="3257006"/>
              <a:ext cx="1065166" cy="1065166"/>
            </a:xfrm>
            <a:custGeom>
              <a:avLst/>
              <a:gdLst>
                <a:gd name="connsiteX0" fmla="*/ 0 w 1532164"/>
                <a:gd name="connsiteY0" fmla="*/ 0 h 1532164"/>
                <a:gd name="connsiteX1" fmla="*/ 1532164 w 1532164"/>
                <a:gd name="connsiteY1" fmla="*/ 0 h 1532164"/>
                <a:gd name="connsiteX2" fmla="*/ 1532164 w 1532164"/>
                <a:gd name="connsiteY2" fmla="*/ 1532164 h 1532164"/>
                <a:gd name="connsiteX3" fmla="*/ 578647 w 1532164"/>
                <a:gd name="connsiteY3" fmla="*/ 1532164 h 1532164"/>
                <a:gd name="connsiteX4" fmla="*/ 578647 w 1532164"/>
                <a:gd name="connsiteY4" fmla="*/ 963624 h 1532164"/>
                <a:gd name="connsiteX5" fmla="*/ 0 w 1532164"/>
                <a:gd name="connsiteY5" fmla="*/ 963624 h 1532164"/>
                <a:gd name="connsiteX6" fmla="*/ 0 w 1532164"/>
                <a:gd name="connsiteY6" fmla="*/ 0 h 1532164"/>
                <a:gd name="connsiteX0" fmla="*/ 578647 w 1532164"/>
                <a:gd name="connsiteY0" fmla="*/ 963624 h 1532164"/>
                <a:gd name="connsiteX1" fmla="*/ 0 w 1532164"/>
                <a:gd name="connsiteY1" fmla="*/ 963624 h 1532164"/>
                <a:gd name="connsiteX2" fmla="*/ 0 w 1532164"/>
                <a:gd name="connsiteY2" fmla="*/ 0 h 1532164"/>
                <a:gd name="connsiteX3" fmla="*/ 1532164 w 1532164"/>
                <a:gd name="connsiteY3" fmla="*/ 0 h 1532164"/>
                <a:gd name="connsiteX4" fmla="*/ 1532164 w 1532164"/>
                <a:gd name="connsiteY4" fmla="*/ 1532164 h 1532164"/>
                <a:gd name="connsiteX5" fmla="*/ 578647 w 1532164"/>
                <a:gd name="connsiteY5" fmla="*/ 1532164 h 1532164"/>
                <a:gd name="connsiteX6" fmla="*/ 670087 w 1532164"/>
                <a:gd name="connsiteY6" fmla="*/ 1055064 h 1532164"/>
                <a:gd name="connsiteX0" fmla="*/ 578647 w 1532164"/>
                <a:gd name="connsiteY0" fmla="*/ 963624 h 1532164"/>
                <a:gd name="connsiteX1" fmla="*/ 0 w 1532164"/>
                <a:gd name="connsiteY1" fmla="*/ 963624 h 1532164"/>
                <a:gd name="connsiteX2" fmla="*/ 0 w 1532164"/>
                <a:gd name="connsiteY2" fmla="*/ 0 h 1532164"/>
                <a:gd name="connsiteX3" fmla="*/ 1532164 w 1532164"/>
                <a:gd name="connsiteY3" fmla="*/ 0 h 1532164"/>
                <a:gd name="connsiteX4" fmla="*/ 1532164 w 1532164"/>
                <a:gd name="connsiteY4" fmla="*/ 1532164 h 1532164"/>
                <a:gd name="connsiteX5" fmla="*/ 578647 w 1532164"/>
                <a:gd name="connsiteY5" fmla="*/ 1532164 h 1532164"/>
                <a:gd name="connsiteX0" fmla="*/ 0 w 1532164"/>
                <a:gd name="connsiteY0" fmla="*/ 963624 h 1532164"/>
                <a:gd name="connsiteX1" fmla="*/ 0 w 1532164"/>
                <a:gd name="connsiteY1" fmla="*/ 0 h 1532164"/>
                <a:gd name="connsiteX2" fmla="*/ 1532164 w 1532164"/>
                <a:gd name="connsiteY2" fmla="*/ 0 h 1532164"/>
                <a:gd name="connsiteX3" fmla="*/ 1532164 w 1532164"/>
                <a:gd name="connsiteY3" fmla="*/ 1532164 h 1532164"/>
                <a:gd name="connsiteX4" fmla="*/ 578647 w 1532164"/>
                <a:gd name="connsiteY4" fmla="*/ 1532164 h 1532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164" h="1532164">
                  <a:moveTo>
                    <a:pt x="0" y="963624"/>
                  </a:moveTo>
                  <a:lnTo>
                    <a:pt x="0" y="0"/>
                  </a:lnTo>
                  <a:lnTo>
                    <a:pt x="1532164" y="0"/>
                  </a:lnTo>
                  <a:lnTo>
                    <a:pt x="1532164" y="1532164"/>
                  </a:lnTo>
                  <a:lnTo>
                    <a:pt x="578647" y="1532164"/>
                  </a:lnTo>
                </a:path>
              </a:pathLst>
            </a:custGeom>
            <a:noFill/>
            <a:ln w="15875">
              <a:solidFill>
                <a:schemeClr val="bg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grpSp>
          <p:nvGrpSpPr>
            <p:cNvPr id="40" name="Group 39">
              <a:extLst>
                <a:ext uri="{FF2B5EF4-FFF2-40B4-BE49-F238E27FC236}">
                  <a16:creationId xmlns:a16="http://schemas.microsoft.com/office/drawing/2014/main" id="{49436C3A-AB93-4A51-B155-A455E4D669FC}"/>
                </a:ext>
              </a:extLst>
            </p:cNvPr>
            <p:cNvGrpSpPr/>
            <p:nvPr/>
          </p:nvGrpSpPr>
          <p:grpSpPr>
            <a:xfrm>
              <a:off x="4190341" y="3461656"/>
              <a:ext cx="836696" cy="828301"/>
              <a:chOff x="3924301" y="3326121"/>
              <a:chExt cx="1242014" cy="1229549"/>
            </a:xfrm>
          </p:grpSpPr>
          <p:sp>
            <p:nvSpPr>
              <p:cNvPr id="35" name="Freeform: Shape 34">
                <a:extLst>
                  <a:ext uri="{FF2B5EF4-FFF2-40B4-BE49-F238E27FC236}">
                    <a16:creationId xmlns:a16="http://schemas.microsoft.com/office/drawing/2014/main" id="{BA9851F2-273C-416D-811A-153E2E18BDFA}"/>
                  </a:ext>
                </a:extLst>
              </p:cNvPr>
              <p:cNvSpPr/>
              <p:nvPr/>
            </p:nvSpPr>
            <p:spPr bwMode="auto">
              <a:xfrm rot="10800000">
                <a:off x="4756384" y="3326121"/>
                <a:ext cx="409931" cy="402771"/>
              </a:xfrm>
              <a:custGeom>
                <a:avLst/>
                <a:gdLst>
                  <a:gd name="connsiteX0" fmla="*/ 0 w 578647"/>
                  <a:gd name="connsiteY0" fmla="*/ 0 h 568540"/>
                  <a:gd name="connsiteX1" fmla="*/ 578647 w 578647"/>
                  <a:gd name="connsiteY1" fmla="*/ 0 h 568540"/>
                  <a:gd name="connsiteX2" fmla="*/ 578647 w 578647"/>
                  <a:gd name="connsiteY2" fmla="*/ 568540 h 568540"/>
                  <a:gd name="connsiteX3" fmla="*/ 0 w 578647"/>
                  <a:gd name="connsiteY3" fmla="*/ 568540 h 568540"/>
                  <a:gd name="connsiteX4" fmla="*/ 0 w 578647"/>
                  <a:gd name="connsiteY4" fmla="*/ 0 h 568540"/>
                  <a:gd name="connsiteX0" fmla="*/ 578647 w 670087"/>
                  <a:gd name="connsiteY0" fmla="*/ 0 h 568540"/>
                  <a:gd name="connsiteX1" fmla="*/ 578647 w 670087"/>
                  <a:gd name="connsiteY1" fmla="*/ 568540 h 568540"/>
                  <a:gd name="connsiteX2" fmla="*/ 0 w 670087"/>
                  <a:gd name="connsiteY2" fmla="*/ 568540 h 568540"/>
                  <a:gd name="connsiteX3" fmla="*/ 0 w 670087"/>
                  <a:gd name="connsiteY3" fmla="*/ 0 h 568540"/>
                  <a:gd name="connsiteX4" fmla="*/ 670087 w 670087"/>
                  <a:gd name="connsiteY4" fmla="*/ 91440 h 568540"/>
                  <a:gd name="connsiteX0" fmla="*/ 578647 w 578647"/>
                  <a:gd name="connsiteY0" fmla="*/ 0 h 568540"/>
                  <a:gd name="connsiteX1" fmla="*/ 578647 w 578647"/>
                  <a:gd name="connsiteY1" fmla="*/ 568540 h 568540"/>
                  <a:gd name="connsiteX2" fmla="*/ 0 w 578647"/>
                  <a:gd name="connsiteY2" fmla="*/ 568540 h 568540"/>
                  <a:gd name="connsiteX3" fmla="*/ 0 w 578647"/>
                  <a:gd name="connsiteY3" fmla="*/ 0 h 568540"/>
                  <a:gd name="connsiteX0" fmla="*/ 578647 w 578647"/>
                  <a:gd name="connsiteY0" fmla="*/ 568540 h 568540"/>
                  <a:gd name="connsiteX1" fmla="*/ 0 w 578647"/>
                  <a:gd name="connsiteY1" fmla="*/ 568540 h 568540"/>
                  <a:gd name="connsiteX2" fmla="*/ 0 w 578647"/>
                  <a:gd name="connsiteY2" fmla="*/ 0 h 568540"/>
                </a:gdLst>
                <a:ahLst/>
                <a:cxnLst>
                  <a:cxn ang="0">
                    <a:pos x="connsiteX0" y="connsiteY0"/>
                  </a:cxn>
                  <a:cxn ang="0">
                    <a:pos x="connsiteX1" y="connsiteY1"/>
                  </a:cxn>
                  <a:cxn ang="0">
                    <a:pos x="connsiteX2" y="connsiteY2"/>
                  </a:cxn>
                </a:cxnLst>
                <a:rect l="l" t="t" r="r" b="b"/>
                <a:pathLst>
                  <a:path w="578647" h="568540">
                    <a:moveTo>
                      <a:pt x="578647" y="568540"/>
                    </a:moveTo>
                    <a:lnTo>
                      <a:pt x="0" y="568540"/>
                    </a:lnTo>
                    <a:lnTo>
                      <a:pt x="0" y="0"/>
                    </a:lnTo>
                  </a:path>
                </a:pathLst>
              </a:custGeom>
              <a:noFill/>
              <a:ln w="15875">
                <a:solidFill>
                  <a:schemeClr val="bg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cxnSp>
            <p:nvCxnSpPr>
              <p:cNvPr id="37" name="Straight Connector 36">
                <a:extLst>
                  <a:ext uri="{FF2B5EF4-FFF2-40B4-BE49-F238E27FC236}">
                    <a16:creationId xmlns:a16="http://schemas.microsoft.com/office/drawing/2014/main" id="{AF2B4123-B743-4587-A5B2-9D4426F68FD9}"/>
                  </a:ext>
                </a:extLst>
              </p:cNvPr>
              <p:cNvCxnSpPr>
                <a:cxnSpLocks/>
                <a:endCxn id="35" idx="1"/>
              </p:cNvCxnSpPr>
              <p:nvPr/>
            </p:nvCxnSpPr>
            <p:spPr>
              <a:xfrm flipV="1">
                <a:off x="3924301" y="3326121"/>
                <a:ext cx="1242014" cy="1229549"/>
              </a:xfrm>
              <a:prstGeom prst="line">
                <a:avLst/>
              </a:prstGeom>
              <a:ln w="15875">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1" name="Group 50">
            <a:extLst>
              <a:ext uri="{FF2B5EF4-FFF2-40B4-BE49-F238E27FC236}">
                <a16:creationId xmlns:a16="http://schemas.microsoft.com/office/drawing/2014/main" id="{6F5BD5E6-3A70-4FE9-B4D1-BD73CBF83C38}"/>
              </a:ext>
            </a:extLst>
          </p:cNvPr>
          <p:cNvGrpSpPr/>
          <p:nvPr/>
        </p:nvGrpSpPr>
        <p:grpSpPr>
          <a:xfrm>
            <a:off x="5970264" y="1048981"/>
            <a:ext cx="248827" cy="316806"/>
            <a:chOff x="-89366" y="1982903"/>
            <a:chExt cx="986802" cy="1223863"/>
          </a:xfrm>
        </p:grpSpPr>
        <p:sp>
          <p:nvSpPr>
            <p:cNvPr id="52" name="Freeform 5">
              <a:extLst>
                <a:ext uri="{FF2B5EF4-FFF2-40B4-BE49-F238E27FC236}">
                  <a16:creationId xmlns:a16="http://schemas.microsoft.com/office/drawing/2014/main" id="{D4DEBF64-732A-4D24-98F1-04F4234701C4}"/>
                </a:ext>
              </a:extLst>
            </p:cNvPr>
            <p:cNvSpPr>
              <a:spLocks/>
            </p:cNvSpPr>
            <p:nvPr/>
          </p:nvSpPr>
          <p:spPr bwMode="auto">
            <a:xfrm>
              <a:off x="-89366" y="2107542"/>
              <a:ext cx="555856" cy="565226"/>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53" name="Freeform 6">
              <a:extLst>
                <a:ext uri="{FF2B5EF4-FFF2-40B4-BE49-F238E27FC236}">
                  <a16:creationId xmlns:a16="http://schemas.microsoft.com/office/drawing/2014/main" id="{943A573A-93B8-4871-881A-8A911EB0C20A}"/>
                </a:ext>
              </a:extLst>
            </p:cNvPr>
            <p:cNvSpPr>
              <a:spLocks/>
            </p:cNvSpPr>
            <p:nvPr/>
          </p:nvSpPr>
          <p:spPr bwMode="auto">
            <a:xfrm>
              <a:off x="266632" y="2538488"/>
              <a:ext cx="630804" cy="552734"/>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54" name="Freeform 7">
              <a:extLst>
                <a:ext uri="{FF2B5EF4-FFF2-40B4-BE49-F238E27FC236}">
                  <a16:creationId xmlns:a16="http://schemas.microsoft.com/office/drawing/2014/main" id="{54394F99-B558-4241-93A8-A874956D2B6D}"/>
                </a:ext>
              </a:extLst>
            </p:cNvPr>
            <p:cNvSpPr>
              <a:spLocks/>
            </p:cNvSpPr>
            <p:nvPr/>
          </p:nvSpPr>
          <p:spPr bwMode="auto">
            <a:xfrm>
              <a:off x="263510" y="2988171"/>
              <a:ext cx="140525" cy="218595"/>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55" name="Freeform 8">
              <a:extLst>
                <a:ext uri="{FF2B5EF4-FFF2-40B4-BE49-F238E27FC236}">
                  <a16:creationId xmlns:a16="http://schemas.microsoft.com/office/drawing/2014/main" id="{35DDDE5F-6124-4C1E-9DB6-34C61B6722C4}"/>
                </a:ext>
              </a:extLst>
            </p:cNvPr>
            <p:cNvSpPr>
              <a:spLocks/>
            </p:cNvSpPr>
            <p:nvPr/>
          </p:nvSpPr>
          <p:spPr bwMode="auto">
            <a:xfrm rot="20858347">
              <a:off x="333774" y="1982903"/>
              <a:ext cx="140525" cy="221719"/>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0000"/>
                </a:solidFill>
                <a:latin typeface="Segoe UI"/>
              </a:endParaRPr>
            </a:p>
          </p:txBody>
        </p:sp>
        <p:sp>
          <p:nvSpPr>
            <p:cNvPr id="56" name="Oval 10">
              <a:extLst>
                <a:ext uri="{FF2B5EF4-FFF2-40B4-BE49-F238E27FC236}">
                  <a16:creationId xmlns:a16="http://schemas.microsoft.com/office/drawing/2014/main" id="{19EA1391-8C47-49A4-A579-2A096BFFC780}"/>
                </a:ext>
              </a:extLst>
            </p:cNvPr>
            <p:cNvSpPr>
              <a:spLocks noChangeArrowheads="1"/>
            </p:cNvSpPr>
            <p:nvPr/>
          </p:nvSpPr>
          <p:spPr bwMode="auto">
            <a:xfrm>
              <a:off x="-72112" y="2783587"/>
              <a:ext cx="235676" cy="233113"/>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57" name="Rectangle 56">
              <a:extLst>
                <a:ext uri="{FF2B5EF4-FFF2-40B4-BE49-F238E27FC236}">
                  <a16:creationId xmlns:a16="http://schemas.microsoft.com/office/drawing/2014/main" id="{567DCCC5-AB4E-496C-AF42-29316C2B62A4}"/>
                </a:ext>
              </a:extLst>
            </p:cNvPr>
            <p:cNvSpPr/>
            <p:nvPr/>
          </p:nvSpPr>
          <p:spPr bwMode="auto">
            <a:xfrm>
              <a:off x="609219" y="2200614"/>
              <a:ext cx="202980" cy="202980"/>
            </a:xfrm>
            <a:prstGeom prst="rect">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err="1">
                <a:solidFill>
                  <a:srgbClr val="000000"/>
                </a:solidFill>
                <a:latin typeface="Segoe UI"/>
              </a:endParaRPr>
            </a:p>
          </p:txBody>
        </p:sp>
      </p:grpSp>
      <p:sp>
        <p:nvSpPr>
          <p:cNvPr id="66" name="Title 1">
            <a:extLst>
              <a:ext uri="{FF2B5EF4-FFF2-40B4-BE49-F238E27FC236}">
                <a16:creationId xmlns:a16="http://schemas.microsoft.com/office/drawing/2014/main" id="{5F2E4DD6-49FE-442F-B3C3-1CE67E59DFEA}"/>
              </a:ext>
            </a:extLst>
          </p:cNvPr>
          <p:cNvSpPr>
            <a:spLocks noGrp="1"/>
          </p:cNvSpPr>
          <p:nvPr>
            <p:ph type="title"/>
          </p:nvPr>
        </p:nvSpPr>
        <p:spPr>
          <a:xfrm>
            <a:off x="197932" y="156763"/>
            <a:ext cx="11985053" cy="899537"/>
          </a:xfrm>
        </p:spPr>
        <p:txBody>
          <a:bodyPr/>
          <a:lstStyle/>
          <a:p>
            <a:pPr algn="ctr"/>
            <a:r>
              <a:rPr lang="en-US" sz="3137" cap="all" spc="500" dirty="0">
                <a:solidFill>
                  <a:schemeClr val="tx2"/>
                </a:solidFill>
                <a:latin typeface="Segoe UI Semilight" charset="0"/>
                <a:cs typeface="Segoe UI Semilight" charset="0"/>
              </a:rPr>
              <a:t>(2017) Azure SQL Database </a:t>
            </a:r>
            <a:br>
              <a:rPr lang="en-US" sz="3137" cap="all" spc="500" dirty="0">
                <a:solidFill>
                  <a:schemeClr val="tx2"/>
                </a:solidFill>
                <a:latin typeface="Segoe UI Semilight" charset="0"/>
                <a:cs typeface="Segoe UI Semilight" charset="0"/>
              </a:rPr>
            </a:br>
            <a:br>
              <a:rPr lang="en-US" sz="1765" kern="0" spc="100" dirty="0">
                <a:solidFill>
                  <a:schemeClr val="tx2"/>
                </a:solidFill>
                <a:latin typeface="Segoe UI Semibold" charset="0"/>
                <a:cs typeface="Segoe UI Semibold" charset="0"/>
              </a:rPr>
            </a:br>
            <a:endParaRPr lang="en-US" sz="1765" kern="0" spc="100" dirty="0">
              <a:solidFill>
                <a:schemeClr val="tx2"/>
              </a:solidFill>
              <a:latin typeface="Segoe UI Semibold" charset="0"/>
              <a:cs typeface="Segoe UI Semibold" charset="0"/>
            </a:endParaRPr>
          </a:p>
        </p:txBody>
      </p:sp>
      <p:grpSp>
        <p:nvGrpSpPr>
          <p:cNvPr id="36" name="Group 35">
            <a:extLst>
              <a:ext uri="{FF2B5EF4-FFF2-40B4-BE49-F238E27FC236}">
                <a16:creationId xmlns:a16="http://schemas.microsoft.com/office/drawing/2014/main" id="{FE176CE3-0A9D-45D1-B842-C0D872BF70B6}"/>
              </a:ext>
            </a:extLst>
          </p:cNvPr>
          <p:cNvGrpSpPr/>
          <p:nvPr/>
        </p:nvGrpSpPr>
        <p:grpSpPr>
          <a:xfrm>
            <a:off x="228578" y="1047766"/>
            <a:ext cx="334373" cy="326601"/>
            <a:chOff x="3097731" y="3411002"/>
            <a:chExt cx="3912131" cy="3332680"/>
          </a:xfrm>
        </p:grpSpPr>
        <p:sp>
          <p:nvSpPr>
            <p:cNvPr id="38" name="Freeform: Shape 399">
              <a:extLst>
                <a:ext uri="{FF2B5EF4-FFF2-40B4-BE49-F238E27FC236}">
                  <a16:creationId xmlns:a16="http://schemas.microsoft.com/office/drawing/2014/main" id="{479EC115-F4EF-4688-83FD-AA048A4ACBD6}"/>
                </a:ext>
              </a:extLst>
            </p:cNvPr>
            <p:cNvSpPr/>
            <p:nvPr/>
          </p:nvSpPr>
          <p:spPr bwMode="auto">
            <a:xfrm>
              <a:off x="3097731" y="3411002"/>
              <a:ext cx="3912131" cy="3326728"/>
            </a:xfrm>
            <a:custGeom>
              <a:avLst/>
              <a:gdLst>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009850 w 4510936"/>
                <a:gd name="connsiteY14" fmla="*/ 3835942 h 3835942"/>
                <a:gd name="connsiteX15" fmla="*/ 1789458 w 4510936"/>
                <a:gd name="connsiteY15" fmla="*/ 3835942 h 3835942"/>
                <a:gd name="connsiteX16" fmla="*/ 1792429 w 4510936"/>
                <a:gd name="connsiteY16" fmla="*/ 3610035 h 3835942"/>
                <a:gd name="connsiteX17" fmla="*/ 1770743 w 4510936"/>
                <a:gd name="connsiteY17" fmla="*/ 2832642 h 3835942"/>
                <a:gd name="connsiteX18" fmla="*/ 1081314 w 4510936"/>
                <a:gd name="connsiteY18" fmla="*/ 2061571 h 3835942"/>
                <a:gd name="connsiteX19" fmla="*/ 1562100 w 4510936"/>
                <a:gd name="connsiteY19" fmla="*/ 1896471 h 3835942"/>
                <a:gd name="connsiteX20" fmla="*/ 1034142 w 4510936"/>
                <a:gd name="connsiteY20" fmla="*/ 1807570 h 3835942"/>
                <a:gd name="connsiteX21" fmla="*/ 1676400 w 4510936"/>
                <a:gd name="connsiteY21" fmla="*/ 10963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2674257 w 4510936"/>
                <a:gd name="connsiteY25" fmla="*/ 1626142 h 3835942"/>
                <a:gd name="connsiteX26" fmla="*/ 2238828 w 4510936"/>
                <a:gd name="connsiteY26" fmla="*/ 16515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458028 w 4510936"/>
                <a:gd name="connsiteY30" fmla="*/ 1742256 h 3835942"/>
                <a:gd name="connsiteX31" fmla="*/ 3721099 w 4510936"/>
                <a:gd name="connsiteY31" fmla="*/ 2203084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010556 w 4510936"/>
                <a:gd name="connsiteY42" fmla="*/ 677270 h 3835942"/>
                <a:gd name="connsiteX43" fmla="*/ 1248228 w 4510936"/>
                <a:gd name="connsiteY43" fmla="*/ 994770 h 3835942"/>
                <a:gd name="connsiteX44" fmla="*/ 801914 w 4510936"/>
                <a:gd name="connsiteY44" fmla="*/ 1571713 h 3835942"/>
                <a:gd name="connsiteX45" fmla="*/ 542471 w 4510936"/>
                <a:gd name="connsiteY45" fmla="*/ 1132656 h 3835942"/>
                <a:gd name="connsiteX46" fmla="*/ 812800 w 4510936"/>
                <a:gd name="connsiteY46" fmla="*/ 1843856 h 3835942"/>
                <a:gd name="connsiteX47" fmla="*/ 925285 w 4510936"/>
                <a:gd name="connsiteY47" fmla="*/ 2235742 h 3835942"/>
                <a:gd name="connsiteX48" fmla="*/ 651328 w 4510936"/>
                <a:gd name="connsiteY48" fmla="*/ 2607670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556657 w 4510936"/>
                <a:gd name="connsiteY49" fmla="*/ 2852599 h 3835942"/>
                <a:gd name="connsiteX50" fmla="*/ 1580115 w 4510936"/>
                <a:gd name="connsiteY50" fmla="*/ 3729193 h 3835942"/>
                <a:gd name="connsiteX51" fmla="*/ 1581642 w 4510936"/>
                <a:gd name="connsiteY51" fmla="*/ 3835942 h 3835942"/>
                <a:gd name="connsiteX52" fmla="*/ 1113971 w 4510936"/>
                <a:gd name="connsiteY52" fmla="*/ 3835942 h 3835942"/>
                <a:gd name="connsiteX53" fmla="*/ 836413 w 4510936"/>
                <a:gd name="connsiteY53" fmla="*/ 3086585 h 3835942"/>
                <a:gd name="connsiteX54" fmla="*/ 116170 w 4510936"/>
                <a:gd name="connsiteY54" fmla="*/ 2308285 h 3835942"/>
                <a:gd name="connsiteX55" fmla="*/ 118297 w 4510936"/>
                <a:gd name="connsiteY55" fmla="*/ 2287181 h 3835942"/>
                <a:gd name="connsiteX56" fmla="*/ 98842 w 4510936"/>
                <a:gd name="connsiteY56" fmla="*/ 2263602 h 3835942"/>
                <a:gd name="connsiteX57" fmla="*/ 0 w 4510936"/>
                <a:gd name="connsiteY57" fmla="*/ 1940013 h 3835942"/>
                <a:gd name="connsiteX58" fmla="*/ 98842 w 4510936"/>
                <a:gd name="connsiteY58" fmla="*/ 1616424 h 3835942"/>
                <a:gd name="connsiteX59" fmla="*/ 158494 w 4510936"/>
                <a:gd name="connsiteY59" fmla="*/ 1544125 h 3835942"/>
                <a:gd name="connsiteX60" fmla="*/ 138294 w 4510936"/>
                <a:gd name="connsiteY60" fmla="*/ 1479051 h 3835942"/>
                <a:gd name="connsiteX61" fmla="*/ 124645 w 4510936"/>
                <a:gd name="connsiteY61" fmla="*/ 1343654 h 3835942"/>
                <a:gd name="connsiteX62" fmla="*/ 534966 w 4510936"/>
                <a:gd name="connsiteY62" fmla="*/ 724623 h 3835942"/>
                <a:gd name="connsiteX63" fmla="*/ 655270 w 4510936"/>
                <a:gd name="connsiteY63" fmla="*/ 687278 h 3835942"/>
                <a:gd name="connsiteX64" fmla="*/ 663127 w 4510936"/>
                <a:gd name="connsiteY64" fmla="*/ 661967 h 3835942"/>
                <a:gd name="connsiteX65" fmla="*/ 1282159 w 4510936"/>
                <a:gd name="connsiteY65" fmla="*/ 251645 h 3835942"/>
                <a:gd name="connsiteX66" fmla="*/ 1417556 w 4510936"/>
                <a:gd name="connsiteY66" fmla="*/ 265294 h 3835942"/>
                <a:gd name="connsiteX67" fmla="*/ 1421411 w 4510936"/>
                <a:gd name="connsiteY67" fmla="*/ 266491 h 3835942"/>
                <a:gd name="connsiteX68" fmla="*/ 1478933 w 4510936"/>
                <a:gd name="connsiteY68" fmla="*/ 196773 h 3835942"/>
                <a:gd name="connsiteX69" fmla="*/ 1953986 w 4510936"/>
                <a:gd name="connsiteY6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1556657 w 4510936"/>
                <a:gd name="connsiteY48" fmla="*/ 2852599 h 3835942"/>
                <a:gd name="connsiteX49" fmla="*/ 1580115 w 4510936"/>
                <a:gd name="connsiteY49" fmla="*/ 3729193 h 3835942"/>
                <a:gd name="connsiteX50" fmla="*/ 1581642 w 4510936"/>
                <a:gd name="connsiteY50" fmla="*/ 3835942 h 3835942"/>
                <a:gd name="connsiteX51" fmla="*/ 1113971 w 4510936"/>
                <a:gd name="connsiteY51" fmla="*/ 3835942 h 3835942"/>
                <a:gd name="connsiteX52" fmla="*/ 836413 w 4510936"/>
                <a:gd name="connsiteY52" fmla="*/ 3086585 h 3835942"/>
                <a:gd name="connsiteX53" fmla="*/ 116170 w 4510936"/>
                <a:gd name="connsiteY53" fmla="*/ 2308285 h 3835942"/>
                <a:gd name="connsiteX54" fmla="*/ 118297 w 4510936"/>
                <a:gd name="connsiteY54" fmla="*/ 2287181 h 3835942"/>
                <a:gd name="connsiteX55" fmla="*/ 98842 w 4510936"/>
                <a:gd name="connsiteY55" fmla="*/ 2263602 h 3835942"/>
                <a:gd name="connsiteX56" fmla="*/ 0 w 4510936"/>
                <a:gd name="connsiteY56" fmla="*/ 1940013 h 3835942"/>
                <a:gd name="connsiteX57" fmla="*/ 98842 w 4510936"/>
                <a:gd name="connsiteY57" fmla="*/ 1616424 h 3835942"/>
                <a:gd name="connsiteX58" fmla="*/ 158494 w 4510936"/>
                <a:gd name="connsiteY58" fmla="*/ 1544125 h 3835942"/>
                <a:gd name="connsiteX59" fmla="*/ 138294 w 4510936"/>
                <a:gd name="connsiteY59" fmla="*/ 1479051 h 3835942"/>
                <a:gd name="connsiteX60" fmla="*/ 124645 w 4510936"/>
                <a:gd name="connsiteY60" fmla="*/ 1343654 h 3835942"/>
                <a:gd name="connsiteX61" fmla="*/ 534966 w 4510936"/>
                <a:gd name="connsiteY61" fmla="*/ 724623 h 3835942"/>
                <a:gd name="connsiteX62" fmla="*/ 655270 w 4510936"/>
                <a:gd name="connsiteY62" fmla="*/ 687278 h 3835942"/>
                <a:gd name="connsiteX63" fmla="*/ 663127 w 4510936"/>
                <a:gd name="connsiteY63" fmla="*/ 661967 h 3835942"/>
                <a:gd name="connsiteX64" fmla="*/ 1282159 w 4510936"/>
                <a:gd name="connsiteY64" fmla="*/ 251645 h 3835942"/>
                <a:gd name="connsiteX65" fmla="*/ 1417556 w 4510936"/>
                <a:gd name="connsiteY65" fmla="*/ 265294 h 3835942"/>
                <a:gd name="connsiteX66" fmla="*/ 1421411 w 4510936"/>
                <a:gd name="connsiteY66" fmla="*/ 266491 h 3835942"/>
                <a:gd name="connsiteX67" fmla="*/ 1478933 w 4510936"/>
                <a:gd name="connsiteY67" fmla="*/ 196773 h 3835942"/>
                <a:gd name="connsiteX68" fmla="*/ 1953986 w 4510936"/>
                <a:gd name="connsiteY6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1556657 w 4510936"/>
                <a:gd name="connsiteY47" fmla="*/ 2852599 h 3835942"/>
                <a:gd name="connsiteX48" fmla="*/ 1580115 w 4510936"/>
                <a:gd name="connsiteY48" fmla="*/ 3729193 h 3835942"/>
                <a:gd name="connsiteX49" fmla="*/ 1581642 w 4510936"/>
                <a:gd name="connsiteY49" fmla="*/ 3835942 h 3835942"/>
                <a:gd name="connsiteX50" fmla="*/ 1113971 w 4510936"/>
                <a:gd name="connsiteY50" fmla="*/ 3835942 h 3835942"/>
                <a:gd name="connsiteX51" fmla="*/ 836413 w 4510936"/>
                <a:gd name="connsiteY51" fmla="*/ 3086585 h 3835942"/>
                <a:gd name="connsiteX52" fmla="*/ 116170 w 4510936"/>
                <a:gd name="connsiteY52" fmla="*/ 2308285 h 3835942"/>
                <a:gd name="connsiteX53" fmla="*/ 118297 w 4510936"/>
                <a:gd name="connsiteY53" fmla="*/ 2287181 h 3835942"/>
                <a:gd name="connsiteX54" fmla="*/ 98842 w 4510936"/>
                <a:gd name="connsiteY54" fmla="*/ 2263602 h 3835942"/>
                <a:gd name="connsiteX55" fmla="*/ 0 w 4510936"/>
                <a:gd name="connsiteY55" fmla="*/ 1940013 h 3835942"/>
                <a:gd name="connsiteX56" fmla="*/ 98842 w 4510936"/>
                <a:gd name="connsiteY56" fmla="*/ 1616424 h 3835942"/>
                <a:gd name="connsiteX57" fmla="*/ 158494 w 4510936"/>
                <a:gd name="connsiteY57" fmla="*/ 1544125 h 3835942"/>
                <a:gd name="connsiteX58" fmla="*/ 138294 w 4510936"/>
                <a:gd name="connsiteY58" fmla="*/ 1479051 h 3835942"/>
                <a:gd name="connsiteX59" fmla="*/ 124645 w 4510936"/>
                <a:gd name="connsiteY59" fmla="*/ 1343654 h 3835942"/>
                <a:gd name="connsiteX60" fmla="*/ 534966 w 4510936"/>
                <a:gd name="connsiteY60" fmla="*/ 724623 h 3835942"/>
                <a:gd name="connsiteX61" fmla="*/ 655270 w 4510936"/>
                <a:gd name="connsiteY61" fmla="*/ 687278 h 3835942"/>
                <a:gd name="connsiteX62" fmla="*/ 663127 w 4510936"/>
                <a:gd name="connsiteY62" fmla="*/ 661967 h 3835942"/>
                <a:gd name="connsiteX63" fmla="*/ 1282159 w 4510936"/>
                <a:gd name="connsiteY63" fmla="*/ 251645 h 3835942"/>
                <a:gd name="connsiteX64" fmla="*/ 1417556 w 4510936"/>
                <a:gd name="connsiteY64" fmla="*/ 265294 h 3835942"/>
                <a:gd name="connsiteX65" fmla="*/ 1421411 w 4510936"/>
                <a:gd name="connsiteY65" fmla="*/ 266491 h 3835942"/>
                <a:gd name="connsiteX66" fmla="*/ 1478933 w 4510936"/>
                <a:gd name="connsiteY66" fmla="*/ 196773 h 3835942"/>
                <a:gd name="connsiteX67" fmla="*/ 1953986 w 4510936"/>
                <a:gd name="connsiteY6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1556657 w 4510936"/>
                <a:gd name="connsiteY46" fmla="*/ 2852599 h 3835942"/>
                <a:gd name="connsiteX47" fmla="*/ 1580115 w 4510936"/>
                <a:gd name="connsiteY47" fmla="*/ 3729193 h 3835942"/>
                <a:gd name="connsiteX48" fmla="*/ 1581642 w 4510936"/>
                <a:gd name="connsiteY48" fmla="*/ 3835942 h 3835942"/>
                <a:gd name="connsiteX49" fmla="*/ 1113971 w 4510936"/>
                <a:gd name="connsiteY49" fmla="*/ 3835942 h 3835942"/>
                <a:gd name="connsiteX50" fmla="*/ 836413 w 4510936"/>
                <a:gd name="connsiteY50" fmla="*/ 3086585 h 3835942"/>
                <a:gd name="connsiteX51" fmla="*/ 116170 w 4510936"/>
                <a:gd name="connsiteY51" fmla="*/ 2308285 h 3835942"/>
                <a:gd name="connsiteX52" fmla="*/ 118297 w 4510936"/>
                <a:gd name="connsiteY52" fmla="*/ 2287181 h 3835942"/>
                <a:gd name="connsiteX53" fmla="*/ 98842 w 4510936"/>
                <a:gd name="connsiteY53" fmla="*/ 2263602 h 3835942"/>
                <a:gd name="connsiteX54" fmla="*/ 0 w 4510936"/>
                <a:gd name="connsiteY54" fmla="*/ 1940013 h 3835942"/>
                <a:gd name="connsiteX55" fmla="*/ 98842 w 4510936"/>
                <a:gd name="connsiteY55" fmla="*/ 1616424 h 3835942"/>
                <a:gd name="connsiteX56" fmla="*/ 158494 w 4510936"/>
                <a:gd name="connsiteY56" fmla="*/ 1544125 h 3835942"/>
                <a:gd name="connsiteX57" fmla="*/ 138294 w 4510936"/>
                <a:gd name="connsiteY57" fmla="*/ 1479051 h 3835942"/>
                <a:gd name="connsiteX58" fmla="*/ 124645 w 4510936"/>
                <a:gd name="connsiteY58" fmla="*/ 1343654 h 3835942"/>
                <a:gd name="connsiteX59" fmla="*/ 534966 w 4510936"/>
                <a:gd name="connsiteY59" fmla="*/ 724623 h 3835942"/>
                <a:gd name="connsiteX60" fmla="*/ 655270 w 4510936"/>
                <a:gd name="connsiteY60" fmla="*/ 687278 h 3835942"/>
                <a:gd name="connsiteX61" fmla="*/ 663127 w 4510936"/>
                <a:gd name="connsiteY61" fmla="*/ 661967 h 3835942"/>
                <a:gd name="connsiteX62" fmla="*/ 1282159 w 4510936"/>
                <a:gd name="connsiteY62" fmla="*/ 251645 h 3835942"/>
                <a:gd name="connsiteX63" fmla="*/ 1417556 w 4510936"/>
                <a:gd name="connsiteY63" fmla="*/ 265294 h 3835942"/>
                <a:gd name="connsiteX64" fmla="*/ 1421411 w 4510936"/>
                <a:gd name="connsiteY64" fmla="*/ 266491 h 3835942"/>
                <a:gd name="connsiteX65" fmla="*/ 1478933 w 4510936"/>
                <a:gd name="connsiteY65" fmla="*/ 196773 h 3835942"/>
                <a:gd name="connsiteX66" fmla="*/ 1953986 w 4510936"/>
                <a:gd name="connsiteY6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1556657 w 4510936"/>
                <a:gd name="connsiteY45" fmla="*/ 2852599 h 3835942"/>
                <a:gd name="connsiteX46" fmla="*/ 1580115 w 4510936"/>
                <a:gd name="connsiteY46" fmla="*/ 3729193 h 3835942"/>
                <a:gd name="connsiteX47" fmla="*/ 1581642 w 4510936"/>
                <a:gd name="connsiteY47" fmla="*/ 3835942 h 3835942"/>
                <a:gd name="connsiteX48" fmla="*/ 1113971 w 4510936"/>
                <a:gd name="connsiteY48" fmla="*/ 3835942 h 3835942"/>
                <a:gd name="connsiteX49" fmla="*/ 836413 w 4510936"/>
                <a:gd name="connsiteY49" fmla="*/ 3086585 h 3835942"/>
                <a:gd name="connsiteX50" fmla="*/ 116170 w 4510936"/>
                <a:gd name="connsiteY50" fmla="*/ 2308285 h 3835942"/>
                <a:gd name="connsiteX51" fmla="*/ 118297 w 4510936"/>
                <a:gd name="connsiteY51" fmla="*/ 2287181 h 3835942"/>
                <a:gd name="connsiteX52" fmla="*/ 98842 w 4510936"/>
                <a:gd name="connsiteY52" fmla="*/ 2263602 h 3835942"/>
                <a:gd name="connsiteX53" fmla="*/ 0 w 4510936"/>
                <a:gd name="connsiteY53" fmla="*/ 1940013 h 3835942"/>
                <a:gd name="connsiteX54" fmla="*/ 98842 w 4510936"/>
                <a:gd name="connsiteY54" fmla="*/ 1616424 h 3835942"/>
                <a:gd name="connsiteX55" fmla="*/ 158494 w 4510936"/>
                <a:gd name="connsiteY55" fmla="*/ 1544125 h 3835942"/>
                <a:gd name="connsiteX56" fmla="*/ 138294 w 4510936"/>
                <a:gd name="connsiteY56" fmla="*/ 1479051 h 3835942"/>
                <a:gd name="connsiteX57" fmla="*/ 124645 w 4510936"/>
                <a:gd name="connsiteY57" fmla="*/ 1343654 h 3835942"/>
                <a:gd name="connsiteX58" fmla="*/ 534966 w 4510936"/>
                <a:gd name="connsiteY58" fmla="*/ 724623 h 3835942"/>
                <a:gd name="connsiteX59" fmla="*/ 655270 w 4510936"/>
                <a:gd name="connsiteY59" fmla="*/ 687278 h 3835942"/>
                <a:gd name="connsiteX60" fmla="*/ 663127 w 4510936"/>
                <a:gd name="connsiteY60" fmla="*/ 661967 h 3835942"/>
                <a:gd name="connsiteX61" fmla="*/ 1282159 w 4510936"/>
                <a:gd name="connsiteY61" fmla="*/ 251645 h 3835942"/>
                <a:gd name="connsiteX62" fmla="*/ 1417556 w 4510936"/>
                <a:gd name="connsiteY62" fmla="*/ 265294 h 3835942"/>
                <a:gd name="connsiteX63" fmla="*/ 1421411 w 4510936"/>
                <a:gd name="connsiteY63" fmla="*/ 266491 h 3835942"/>
                <a:gd name="connsiteX64" fmla="*/ 1478933 w 4510936"/>
                <a:gd name="connsiteY64" fmla="*/ 196773 h 3835942"/>
                <a:gd name="connsiteX65" fmla="*/ 1953986 w 4510936"/>
                <a:gd name="connsiteY6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556657 w 4510936"/>
                <a:gd name="connsiteY44" fmla="*/ 2852599 h 3835942"/>
                <a:gd name="connsiteX45" fmla="*/ 1580115 w 4510936"/>
                <a:gd name="connsiteY45" fmla="*/ 3729193 h 3835942"/>
                <a:gd name="connsiteX46" fmla="*/ 1581642 w 4510936"/>
                <a:gd name="connsiteY46" fmla="*/ 3835942 h 3835942"/>
                <a:gd name="connsiteX47" fmla="*/ 1113971 w 4510936"/>
                <a:gd name="connsiteY47" fmla="*/ 3835942 h 3835942"/>
                <a:gd name="connsiteX48" fmla="*/ 836413 w 4510936"/>
                <a:gd name="connsiteY48" fmla="*/ 3086585 h 3835942"/>
                <a:gd name="connsiteX49" fmla="*/ 116170 w 4510936"/>
                <a:gd name="connsiteY49" fmla="*/ 2308285 h 3835942"/>
                <a:gd name="connsiteX50" fmla="*/ 118297 w 4510936"/>
                <a:gd name="connsiteY50" fmla="*/ 2287181 h 3835942"/>
                <a:gd name="connsiteX51" fmla="*/ 98842 w 4510936"/>
                <a:gd name="connsiteY51" fmla="*/ 2263602 h 3835942"/>
                <a:gd name="connsiteX52" fmla="*/ 0 w 4510936"/>
                <a:gd name="connsiteY52" fmla="*/ 1940013 h 3835942"/>
                <a:gd name="connsiteX53" fmla="*/ 98842 w 4510936"/>
                <a:gd name="connsiteY53" fmla="*/ 1616424 h 3835942"/>
                <a:gd name="connsiteX54" fmla="*/ 158494 w 4510936"/>
                <a:gd name="connsiteY54" fmla="*/ 1544125 h 3835942"/>
                <a:gd name="connsiteX55" fmla="*/ 138294 w 4510936"/>
                <a:gd name="connsiteY55" fmla="*/ 1479051 h 3835942"/>
                <a:gd name="connsiteX56" fmla="*/ 124645 w 4510936"/>
                <a:gd name="connsiteY56" fmla="*/ 1343654 h 3835942"/>
                <a:gd name="connsiteX57" fmla="*/ 534966 w 4510936"/>
                <a:gd name="connsiteY57" fmla="*/ 724623 h 3835942"/>
                <a:gd name="connsiteX58" fmla="*/ 655270 w 4510936"/>
                <a:gd name="connsiteY58" fmla="*/ 687278 h 3835942"/>
                <a:gd name="connsiteX59" fmla="*/ 663127 w 4510936"/>
                <a:gd name="connsiteY59" fmla="*/ 661967 h 3835942"/>
                <a:gd name="connsiteX60" fmla="*/ 1282159 w 4510936"/>
                <a:gd name="connsiteY60" fmla="*/ 251645 h 3835942"/>
                <a:gd name="connsiteX61" fmla="*/ 1417556 w 4510936"/>
                <a:gd name="connsiteY61" fmla="*/ 265294 h 3835942"/>
                <a:gd name="connsiteX62" fmla="*/ 1421411 w 4510936"/>
                <a:gd name="connsiteY62" fmla="*/ 266491 h 3835942"/>
                <a:gd name="connsiteX63" fmla="*/ 1478933 w 4510936"/>
                <a:gd name="connsiteY63" fmla="*/ 196773 h 3835942"/>
                <a:gd name="connsiteX64" fmla="*/ 1953986 w 4510936"/>
                <a:gd name="connsiteY6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556657 w 4510936"/>
                <a:gd name="connsiteY43" fmla="*/ 2852599 h 3835942"/>
                <a:gd name="connsiteX44" fmla="*/ 1580115 w 4510936"/>
                <a:gd name="connsiteY44" fmla="*/ 3729193 h 3835942"/>
                <a:gd name="connsiteX45" fmla="*/ 1581642 w 4510936"/>
                <a:gd name="connsiteY45" fmla="*/ 3835942 h 3835942"/>
                <a:gd name="connsiteX46" fmla="*/ 1113971 w 4510936"/>
                <a:gd name="connsiteY46" fmla="*/ 3835942 h 3835942"/>
                <a:gd name="connsiteX47" fmla="*/ 836413 w 4510936"/>
                <a:gd name="connsiteY47" fmla="*/ 3086585 h 3835942"/>
                <a:gd name="connsiteX48" fmla="*/ 116170 w 4510936"/>
                <a:gd name="connsiteY48" fmla="*/ 2308285 h 3835942"/>
                <a:gd name="connsiteX49" fmla="*/ 118297 w 4510936"/>
                <a:gd name="connsiteY49" fmla="*/ 2287181 h 3835942"/>
                <a:gd name="connsiteX50" fmla="*/ 98842 w 4510936"/>
                <a:gd name="connsiteY50" fmla="*/ 2263602 h 3835942"/>
                <a:gd name="connsiteX51" fmla="*/ 0 w 4510936"/>
                <a:gd name="connsiteY51" fmla="*/ 1940013 h 3835942"/>
                <a:gd name="connsiteX52" fmla="*/ 98842 w 4510936"/>
                <a:gd name="connsiteY52" fmla="*/ 1616424 h 3835942"/>
                <a:gd name="connsiteX53" fmla="*/ 158494 w 4510936"/>
                <a:gd name="connsiteY53" fmla="*/ 1544125 h 3835942"/>
                <a:gd name="connsiteX54" fmla="*/ 138294 w 4510936"/>
                <a:gd name="connsiteY54" fmla="*/ 1479051 h 3835942"/>
                <a:gd name="connsiteX55" fmla="*/ 124645 w 4510936"/>
                <a:gd name="connsiteY55" fmla="*/ 1343654 h 3835942"/>
                <a:gd name="connsiteX56" fmla="*/ 534966 w 4510936"/>
                <a:gd name="connsiteY56" fmla="*/ 724623 h 3835942"/>
                <a:gd name="connsiteX57" fmla="*/ 655270 w 4510936"/>
                <a:gd name="connsiteY57" fmla="*/ 687278 h 3835942"/>
                <a:gd name="connsiteX58" fmla="*/ 663127 w 4510936"/>
                <a:gd name="connsiteY58" fmla="*/ 661967 h 3835942"/>
                <a:gd name="connsiteX59" fmla="*/ 1282159 w 4510936"/>
                <a:gd name="connsiteY59" fmla="*/ 251645 h 3835942"/>
                <a:gd name="connsiteX60" fmla="*/ 1417556 w 4510936"/>
                <a:gd name="connsiteY60" fmla="*/ 265294 h 3835942"/>
                <a:gd name="connsiteX61" fmla="*/ 1421411 w 4510936"/>
                <a:gd name="connsiteY61" fmla="*/ 266491 h 3835942"/>
                <a:gd name="connsiteX62" fmla="*/ 1478933 w 4510936"/>
                <a:gd name="connsiteY62" fmla="*/ 196773 h 3835942"/>
                <a:gd name="connsiteX63" fmla="*/ 1953986 w 4510936"/>
                <a:gd name="connsiteY6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556657 w 4510936"/>
                <a:gd name="connsiteY42" fmla="*/ 2852599 h 3835942"/>
                <a:gd name="connsiteX43" fmla="*/ 1580115 w 4510936"/>
                <a:gd name="connsiteY43" fmla="*/ 3729193 h 3835942"/>
                <a:gd name="connsiteX44" fmla="*/ 1581642 w 4510936"/>
                <a:gd name="connsiteY44" fmla="*/ 3835942 h 3835942"/>
                <a:gd name="connsiteX45" fmla="*/ 1113971 w 4510936"/>
                <a:gd name="connsiteY45" fmla="*/ 3835942 h 3835942"/>
                <a:gd name="connsiteX46" fmla="*/ 836413 w 4510936"/>
                <a:gd name="connsiteY46" fmla="*/ 3086585 h 3835942"/>
                <a:gd name="connsiteX47" fmla="*/ 116170 w 4510936"/>
                <a:gd name="connsiteY47" fmla="*/ 2308285 h 3835942"/>
                <a:gd name="connsiteX48" fmla="*/ 118297 w 4510936"/>
                <a:gd name="connsiteY48" fmla="*/ 2287181 h 3835942"/>
                <a:gd name="connsiteX49" fmla="*/ 98842 w 4510936"/>
                <a:gd name="connsiteY49" fmla="*/ 2263602 h 3835942"/>
                <a:gd name="connsiteX50" fmla="*/ 0 w 4510936"/>
                <a:gd name="connsiteY50" fmla="*/ 1940013 h 3835942"/>
                <a:gd name="connsiteX51" fmla="*/ 98842 w 4510936"/>
                <a:gd name="connsiteY51" fmla="*/ 1616424 h 3835942"/>
                <a:gd name="connsiteX52" fmla="*/ 158494 w 4510936"/>
                <a:gd name="connsiteY52" fmla="*/ 1544125 h 3835942"/>
                <a:gd name="connsiteX53" fmla="*/ 138294 w 4510936"/>
                <a:gd name="connsiteY53" fmla="*/ 1479051 h 3835942"/>
                <a:gd name="connsiteX54" fmla="*/ 124645 w 4510936"/>
                <a:gd name="connsiteY54" fmla="*/ 1343654 h 3835942"/>
                <a:gd name="connsiteX55" fmla="*/ 534966 w 4510936"/>
                <a:gd name="connsiteY55" fmla="*/ 724623 h 3835942"/>
                <a:gd name="connsiteX56" fmla="*/ 655270 w 4510936"/>
                <a:gd name="connsiteY56" fmla="*/ 687278 h 3835942"/>
                <a:gd name="connsiteX57" fmla="*/ 663127 w 4510936"/>
                <a:gd name="connsiteY57" fmla="*/ 661967 h 3835942"/>
                <a:gd name="connsiteX58" fmla="*/ 1282159 w 4510936"/>
                <a:gd name="connsiteY58" fmla="*/ 251645 h 3835942"/>
                <a:gd name="connsiteX59" fmla="*/ 1417556 w 4510936"/>
                <a:gd name="connsiteY59" fmla="*/ 265294 h 3835942"/>
                <a:gd name="connsiteX60" fmla="*/ 1421411 w 4510936"/>
                <a:gd name="connsiteY60" fmla="*/ 266491 h 3835942"/>
                <a:gd name="connsiteX61" fmla="*/ 1478933 w 4510936"/>
                <a:gd name="connsiteY61" fmla="*/ 196773 h 3835942"/>
                <a:gd name="connsiteX62" fmla="*/ 1953986 w 4510936"/>
                <a:gd name="connsiteY6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599542 w 4510936"/>
                <a:gd name="connsiteY31" fmla="*/ 1528170 h 3835942"/>
                <a:gd name="connsiteX32" fmla="*/ 3900714 w 4510936"/>
                <a:gd name="connsiteY32" fmla="*/ 1212485 h 3835942"/>
                <a:gd name="connsiteX33" fmla="*/ 3358243 w 4510936"/>
                <a:gd name="connsiteY33" fmla="*/ 1319527 h 3835942"/>
                <a:gd name="connsiteX34" fmla="*/ 2895600 w 4510936"/>
                <a:gd name="connsiteY34" fmla="*/ 1132656 h 3835942"/>
                <a:gd name="connsiteX35" fmla="*/ 3218542 w 4510936"/>
                <a:gd name="connsiteY35" fmla="*/ 617399 h 3835942"/>
                <a:gd name="connsiteX36" fmla="*/ 2715985 w 4510936"/>
                <a:gd name="connsiteY36" fmla="*/ 947598 h 3835942"/>
                <a:gd name="connsiteX37" fmla="*/ 1948542 w 4510936"/>
                <a:gd name="connsiteY37" fmla="*/ 925827 h 3835942"/>
                <a:gd name="connsiteX38" fmla="*/ 2062843 w 4510936"/>
                <a:gd name="connsiteY38" fmla="*/ 403313 h 3835942"/>
                <a:gd name="connsiteX39" fmla="*/ 1816101 w 4510936"/>
                <a:gd name="connsiteY39" fmla="*/ 780685 h 3835942"/>
                <a:gd name="connsiteX40" fmla="*/ 1455057 w 4510936"/>
                <a:gd name="connsiteY40" fmla="*/ 898614 h 3835942"/>
                <a:gd name="connsiteX41" fmla="*/ 1556657 w 4510936"/>
                <a:gd name="connsiteY41" fmla="*/ 2852599 h 3835942"/>
                <a:gd name="connsiteX42" fmla="*/ 1580115 w 4510936"/>
                <a:gd name="connsiteY42" fmla="*/ 3729193 h 3835942"/>
                <a:gd name="connsiteX43" fmla="*/ 1581642 w 4510936"/>
                <a:gd name="connsiteY43" fmla="*/ 3835942 h 3835942"/>
                <a:gd name="connsiteX44" fmla="*/ 1113971 w 4510936"/>
                <a:gd name="connsiteY44" fmla="*/ 3835942 h 3835942"/>
                <a:gd name="connsiteX45" fmla="*/ 836413 w 4510936"/>
                <a:gd name="connsiteY45" fmla="*/ 3086585 h 3835942"/>
                <a:gd name="connsiteX46" fmla="*/ 116170 w 4510936"/>
                <a:gd name="connsiteY46" fmla="*/ 2308285 h 3835942"/>
                <a:gd name="connsiteX47" fmla="*/ 118297 w 4510936"/>
                <a:gd name="connsiteY47" fmla="*/ 2287181 h 3835942"/>
                <a:gd name="connsiteX48" fmla="*/ 98842 w 4510936"/>
                <a:gd name="connsiteY48" fmla="*/ 2263602 h 3835942"/>
                <a:gd name="connsiteX49" fmla="*/ 0 w 4510936"/>
                <a:gd name="connsiteY49" fmla="*/ 1940013 h 3835942"/>
                <a:gd name="connsiteX50" fmla="*/ 98842 w 4510936"/>
                <a:gd name="connsiteY50" fmla="*/ 1616424 h 3835942"/>
                <a:gd name="connsiteX51" fmla="*/ 158494 w 4510936"/>
                <a:gd name="connsiteY51" fmla="*/ 1544125 h 3835942"/>
                <a:gd name="connsiteX52" fmla="*/ 138294 w 4510936"/>
                <a:gd name="connsiteY52" fmla="*/ 1479051 h 3835942"/>
                <a:gd name="connsiteX53" fmla="*/ 124645 w 4510936"/>
                <a:gd name="connsiteY53" fmla="*/ 1343654 h 3835942"/>
                <a:gd name="connsiteX54" fmla="*/ 534966 w 4510936"/>
                <a:gd name="connsiteY54" fmla="*/ 724623 h 3835942"/>
                <a:gd name="connsiteX55" fmla="*/ 655270 w 4510936"/>
                <a:gd name="connsiteY55" fmla="*/ 687278 h 3835942"/>
                <a:gd name="connsiteX56" fmla="*/ 663127 w 4510936"/>
                <a:gd name="connsiteY56" fmla="*/ 661967 h 3835942"/>
                <a:gd name="connsiteX57" fmla="*/ 1282159 w 4510936"/>
                <a:gd name="connsiteY57" fmla="*/ 251645 h 3835942"/>
                <a:gd name="connsiteX58" fmla="*/ 1417556 w 4510936"/>
                <a:gd name="connsiteY58" fmla="*/ 265294 h 3835942"/>
                <a:gd name="connsiteX59" fmla="*/ 1421411 w 4510936"/>
                <a:gd name="connsiteY59" fmla="*/ 266491 h 3835942"/>
                <a:gd name="connsiteX60" fmla="*/ 1478933 w 4510936"/>
                <a:gd name="connsiteY60" fmla="*/ 196773 h 3835942"/>
                <a:gd name="connsiteX61" fmla="*/ 1953986 w 4510936"/>
                <a:gd name="connsiteY6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900714 w 4510936"/>
                <a:gd name="connsiteY31" fmla="*/ 1212485 h 3835942"/>
                <a:gd name="connsiteX32" fmla="*/ 3358243 w 4510936"/>
                <a:gd name="connsiteY32" fmla="*/ 1319527 h 3835942"/>
                <a:gd name="connsiteX33" fmla="*/ 2895600 w 4510936"/>
                <a:gd name="connsiteY33" fmla="*/ 1132656 h 3835942"/>
                <a:gd name="connsiteX34" fmla="*/ 3218542 w 4510936"/>
                <a:gd name="connsiteY34" fmla="*/ 617399 h 3835942"/>
                <a:gd name="connsiteX35" fmla="*/ 2715985 w 4510936"/>
                <a:gd name="connsiteY35" fmla="*/ 947598 h 3835942"/>
                <a:gd name="connsiteX36" fmla="*/ 1948542 w 4510936"/>
                <a:gd name="connsiteY36" fmla="*/ 925827 h 3835942"/>
                <a:gd name="connsiteX37" fmla="*/ 2062843 w 4510936"/>
                <a:gd name="connsiteY37" fmla="*/ 403313 h 3835942"/>
                <a:gd name="connsiteX38" fmla="*/ 1816101 w 4510936"/>
                <a:gd name="connsiteY38" fmla="*/ 780685 h 3835942"/>
                <a:gd name="connsiteX39" fmla="*/ 1455057 w 4510936"/>
                <a:gd name="connsiteY39" fmla="*/ 898614 h 3835942"/>
                <a:gd name="connsiteX40" fmla="*/ 1556657 w 4510936"/>
                <a:gd name="connsiteY40" fmla="*/ 2852599 h 3835942"/>
                <a:gd name="connsiteX41" fmla="*/ 1580115 w 4510936"/>
                <a:gd name="connsiteY41" fmla="*/ 3729193 h 3835942"/>
                <a:gd name="connsiteX42" fmla="*/ 1581642 w 4510936"/>
                <a:gd name="connsiteY42" fmla="*/ 3835942 h 3835942"/>
                <a:gd name="connsiteX43" fmla="*/ 1113971 w 4510936"/>
                <a:gd name="connsiteY43" fmla="*/ 3835942 h 3835942"/>
                <a:gd name="connsiteX44" fmla="*/ 836413 w 4510936"/>
                <a:gd name="connsiteY44" fmla="*/ 3086585 h 3835942"/>
                <a:gd name="connsiteX45" fmla="*/ 116170 w 4510936"/>
                <a:gd name="connsiteY45" fmla="*/ 2308285 h 3835942"/>
                <a:gd name="connsiteX46" fmla="*/ 118297 w 4510936"/>
                <a:gd name="connsiteY46" fmla="*/ 2287181 h 3835942"/>
                <a:gd name="connsiteX47" fmla="*/ 98842 w 4510936"/>
                <a:gd name="connsiteY47" fmla="*/ 2263602 h 3835942"/>
                <a:gd name="connsiteX48" fmla="*/ 0 w 4510936"/>
                <a:gd name="connsiteY48" fmla="*/ 1940013 h 3835942"/>
                <a:gd name="connsiteX49" fmla="*/ 98842 w 4510936"/>
                <a:gd name="connsiteY49" fmla="*/ 1616424 h 3835942"/>
                <a:gd name="connsiteX50" fmla="*/ 158494 w 4510936"/>
                <a:gd name="connsiteY50" fmla="*/ 1544125 h 3835942"/>
                <a:gd name="connsiteX51" fmla="*/ 138294 w 4510936"/>
                <a:gd name="connsiteY51" fmla="*/ 1479051 h 3835942"/>
                <a:gd name="connsiteX52" fmla="*/ 124645 w 4510936"/>
                <a:gd name="connsiteY52" fmla="*/ 1343654 h 3835942"/>
                <a:gd name="connsiteX53" fmla="*/ 534966 w 4510936"/>
                <a:gd name="connsiteY53" fmla="*/ 724623 h 3835942"/>
                <a:gd name="connsiteX54" fmla="*/ 655270 w 4510936"/>
                <a:gd name="connsiteY54" fmla="*/ 687278 h 3835942"/>
                <a:gd name="connsiteX55" fmla="*/ 663127 w 4510936"/>
                <a:gd name="connsiteY55" fmla="*/ 661967 h 3835942"/>
                <a:gd name="connsiteX56" fmla="*/ 1282159 w 4510936"/>
                <a:gd name="connsiteY56" fmla="*/ 251645 h 3835942"/>
                <a:gd name="connsiteX57" fmla="*/ 1417556 w 4510936"/>
                <a:gd name="connsiteY57" fmla="*/ 265294 h 3835942"/>
                <a:gd name="connsiteX58" fmla="*/ 1421411 w 4510936"/>
                <a:gd name="connsiteY58" fmla="*/ 266491 h 3835942"/>
                <a:gd name="connsiteX59" fmla="*/ 1478933 w 4510936"/>
                <a:gd name="connsiteY59" fmla="*/ 196773 h 3835942"/>
                <a:gd name="connsiteX60" fmla="*/ 1953986 w 4510936"/>
                <a:gd name="connsiteY6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358243 w 4510936"/>
                <a:gd name="connsiteY31" fmla="*/ 1319527 h 3835942"/>
                <a:gd name="connsiteX32" fmla="*/ 2895600 w 4510936"/>
                <a:gd name="connsiteY32" fmla="*/ 1132656 h 3835942"/>
                <a:gd name="connsiteX33" fmla="*/ 3218542 w 4510936"/>
                <a:gd name="connsiteY33" fmla="*/ 617399 h 3835942"/>
                <a:gd name="connsiteX34" fmla="*/ 2715985 w 4510936"/>
                <a:gd name="connsiteY34" fmla="*/ 947598 h 3835942"/>
                <a:gd name="connsiteX35" fmla="*/ 1948542 w 4510936"/>
                <a:gd name="connsiteY35" fmla="*/ 925827 h 3835942"/>
                <a:gd name="connsiteX36" fmla="*/ 2062843 w 4510936"/>
                <a:gd name="connsiteY36" fmla="*/ 403313 h 3835942"/>
                <a:gd name="connsiteX37" fmla="*/ 1816101 w 4510936"/>
                <a:gd name="connsiteY37" fmla="*/ 780685 h 3835942"/>
                <a:gd name="connsiteX38" fmla="*/ 1455057 w 4510936"/>
                <a:gd name="connsiteY38" fmla="*/ 898614 h 3835942"/>
                <a:gd name="connsiteX39" fmla="*/ 1556657 w 4510936"/>
                <a:gd name="connsiteY39" fmla="*/ 2852599 h 3835942"/>
                <a:gd name="connsiteX40" fmla="*/ 1580115 w 4510936"/>
                <a:gd name="connsiteY40" fmla="*/ 3729193 h 3835942"/>
                <a:gd name="connsiteX41" fmla="*/ 1581642 w 4510936"/>
                <a:gd name="connsiteY41" fmla="*/ 3835942 h 3835942"/>
                <a:gd name="connsiteX42" fmla="*/ 1113971 w 4510936"/>
                <a:gd name="connsiteY42" fmla="*/ 3835942 h 3835942"/>
                <a:gd name="connsiteX43" fmla="*/ 836413 w 4510936"/>
                <a:gd name="connsiteY43" fmla="*/ 3086585 h 3835942"/>
                <a:gd name="connsiteX44" fmla="*/ 116170 w 4510936"/>
                <a:gd name="connsiteY44" fmla="*/ 2308285 h 3835942"/>
                <a:gd name="connsiteX45" fmla="*/ 118297 w 4510936"/>
                <a:gd name="connsiteY45" fmla="*/ 2287181 h 3835942"/>
                <a:gd name="connsiteX46" fmla="*/ 98842 w 4510936"/>
                <a:gd name="connsiteY46" fmla="*/ 2263602 h 3835942"/>
                <a:gd name="connsiteX47" fmla="*/ 0 w 4510936"/>
                <a:gd name="connsiteY47" fmla="*/ 1940013 h 3835942"/>
                <a:gd name="connsiteX48" fmla="*/ 98842 w 4510936"/>
                <a:gd name="connsiteY48" fmla="*/ 1616424 h 3835942"/>
                <a:gd name="connsiteX49" fmla="*/ 158494 w 4510936"/>
                <a:gd name="connsiteY49" fmla="*/ 1544125 h 3835942"/>
                <a:gd name="connsiteX50" fmla="*/ 138294 w 4510936"/>
                <a:gd name="connsiteY50" fmla="*/ 1479051 h 3835942"/>
                <a:gd name="connsiteX51" fmla="*/ 124645 w 4510936"/>
                <a:gd name="connsiteY51" fmla="*/ 1343654 h 3835942"/>
                <a:gd name="connsiteX52" fmla="*/ 534966 w 4510936"/>
                <a:gd name="connsiteY52" fmla="*/ 724623 h 3835942"/>
                <a:gd name="connsiteX53" fmla="*/ 655270 w 4510936"/>
                <a:gd name="connsiteY53" fmla="*/ 687278 h 3835942"/>
                <a:gd name="connsiteX54" fmla="*/ 663127 w 4510936"/>
                <a:gd name="connsiteY54" fmla="*/ 661967 h 3835942"/>
                <a:gd name="connsiteX55" fmla="*/ 1282159 w 4510936"/>
                <a:gd name="connsiteY55" fmla="*/ 251645 h 3835942"/>
                <a:gd name="connsiteX56" fmla="*/ 1417556 w 4510936"/>
                <a:gd name="connsiteY56" fmla="*/ 265294 h 3835942"/>
                <a:gd name="connsiteX57" fmla="*/ 1421411 w 4510936"/>
                <a:gd name="connsiteY57" fmla="*/ 266491 h 3835942"/>
                <a:gd name="connsiteX58" fmla="*/ 1478933 w 4510936"/>
                <a:gd name="connsiteY58" fmla="*/ 196773 h 3835942"/>
                <a:gd name="connsiteX59" fmla="*/ 1953986 w 4510936"/>
                <a:gd name="connsiteY5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2895600 w 4510936"/>
                <a:gd name="connsiteY31" fmla="*/ 1132656 h 3835942"/>
                <a:gd name="connsiteX32" fmla="*/ 3218542 w 4510936"/>
                <a:gd name="connsiteY32" fmla="*/ 617399 h 3835942"/>
                <a:gd name="connsiteX33" fmla="*/ 2715985 w 4510936"/>
                <a:gd name="connsiteY33" fmla="*/ 947598 h 3835942"/>
                <a:gd name="connsiteX34" fmla="*/ 1948542 w 4510936"/>
                <a:gd name="connsiteY34" fmla="*/ 925827 h 3835942"/>
                <a:gd name="connsiteX35" fmla="*/ 2062843 w 4510936"/>
                <a:gd name="connsiteY35" fmla="*/ 403313 h 3835942"/>
                <a:gd name="connsiteX36" fmla="*/ 1816101 w 4510936"/>
                <a:gd name="connsiteY36" fmla="*/ 780685 h 3835942"/>
                <a:gd name="connsiteX37" fmla="*/ 1455057 w 4510936"/>
                <a:gd name="connsiteY37" fmla="*/ 898614 h 3835942"/>
                <a:gd name="connsiteX38" fmla="*/ 1556657 w 4510936"/>
                <a:gd name="connsiteY38" fmla="*/ 2852599 h 3835942"/>
                <a:gd name="connsiteX39" fmla="*/ 1580115 w 4510936"/>
                <a:gd name="connsiteY39" fmla="*/ 3729193 h 3835942"/>
                <a:gd name="connsiteX40" fmla="*/ 1581642 w 4510936"/>
                <a:gd name="connsiteY40" fmla="*/ 3835942 h 3835942"/>
                <a:gd name="connsiteX41" fmla="*/ 1113971 w 4510936"/>
                <a:gd name="connsiteY41" fmla="*/ 3835942 h 3835942"/>
                <a:gd name="connsiteX42" fmla="*/ 836413 w 4510936"/>
                <a:gd name="connsiteY42" fmla="*/ 3086585 h 3835942"/>
                <a:gd name="connsiteX43" fmla="*/ 116170 w 4510936"/>
                <a:gd name="connsiteY43" fmla="*/ 2308285 h 3835942"/>
                <a:gd name="connsiteX44" fmla="*/ 118297 w 4510936"/>
                <a:gd name="connsiteY44" fmla="*/ 2287181 h 3835942"/>
                <a:gd name="connsiteX45" fmla="*/ 98842 w 4510936"/>
                <a:gd name="connsiteY45" fmla="*/ 2263602 h 3835942"/>
                <a:gd name="connsiteX46" fmla="*/ 0 w 4510936"/>
                <a:gd name="connsiteY46" fmla="*/ 1940013 h 3835942"/>
                <a:gd name="connsiteX47" fmla="*/ 98842 w 4510936"/>
                <a:gd name="connsiteY47" fmla="*/ 1616424 h 3835942"/>
                <a:gd name="connsiteX48" fmla="*/ 158494 w 4510936"/>
                <a:gd name="connsiteY48" fmla="*/ 1544125 h 3835942"/>
                <a:gd name="connsiteX49" fmla="*/ 138294 w 4510936"/>
                <a:gd name="connsiteY49" fmla="*/ 1479051 h 3835942"/>
                <a:gd name="connsiteX50" fmla="*/ 124645 w 4510936"/>
                <a:gd name="connsiteY50" fmla="*/ 1343654 h 3835942"/>
                <a:gd name="connsiteX51" fmla="*/ 534966 w 4510936"/>
                <a:gd name="connsiteY51" fmla="*/ 724623 h 3835942"/>
                <a:gd name="connsiteX52" fmla="*/ 655270 w 4510936"/>
                <a:gd name="connsiteY52" fmla="*/ 687278 h 3835942"/>
                <a:gd name="connsiteX53" fmla="*/ 663127 w 4510936"/>
                <a:gd name="connsiteY53" fmla="*/ 661967 h 3835942"/>
                <a:gd name="connsiteX54" fmla="*/ 1282159 w 4510936"/>
                <a:gd name="connsiteY54" fmla="*/ 251645 h 3835942"/>
                <a:gd name="connsiteX55" fmla="*/ 1417556 w 4510936"/>
                <a:gd name="connsiteY55" fmla="*/ 265294 h 3835942"/>
                <a:gd name="connsiteX56" fmla="*/ 1421411 w 4510936"/>
                <a:gd name="connsiteY56" fmla="*/ 266491 h 3835942"/>
                <a:gd name="connsiteX57" fmla="*/ 1478933 w 4510936"/>
                <a:gd name="connsiteY57" fmla="*/ 196773 h 3835942"/>
                <a:gd name="connsiteX58" fmla="*/ 1953986 w 4510936"/>
                <a:gd name="connsiteY5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218542 w 4510936"/>
                <a:gd name="connsiteY31" fmla="*/ 617399 h 3835942"/>
                <a:gd name="connsiteX32" fmla="*/ 2715985 w 4510936"/>
                <a:gd name="connsiteY32" fmla="*/ 947598 h 3835942"/>
                <a:gd name="connsiteX33" fmla="*/ 1948542 w 4510936"/>
                <a:gd name="connsiteY33" fmla="*/ 925827 h 3835942"/>
                <a:gd name="connsiteX34" fmla="*/ 2062843 w 4510936"/>
                <a:gd name="connsiteY34" fmla="*/ 403313 h 3835942"/>
                <a:gd name="connsiteX35" fmla="*/ 1816101 w 4510936"/>
                <a:gd name="connsiteY35" fmla="*/ 780685 h 3835942"/>
                <a:gd name="connsiteX36" fmla="*/ 1455057 w 4510936"/>
                <a:gd name="connsiteY36" fmla="*/ 898614 h 3835942"/>
                <a:gd name="connsiteX37" fmla="*/ 1556657 w 4510936"/>
                <a:gd name="connsiteY37" fmla="*/ 2852599 h 3835942"/>
                <a:gd name="connsiteX38" fmla="*/ 1580115 w 4510936"/>
                <a:gd name="connsiteY38" fmla="*/ 3729193 h 3835942"/>
                <a:gd name="connsiteX39" fmla="*/ 1581642 w 4510936"/>
                <a:gd name="connsiteY39" fmla="*/ 3835942 h 3835942"/>
                <a:gd name="connsiteX40" fmla="*/ 1113971 w 4510936"/>
                <a:gd name="connsiteY40" fmla="*/ 3835942 h 3835942"/>
                <a:gd name="connsiteX41" fmla="*/ 836413 w 4510936"/>
                <a:gd name="connsiteY41" fmla="*/ 3086585 h 3835942"/>
                <a:gd name="connsiteX42" fmla="*/ 116170 w 4510936"/>
                <a:gd name="connsiteY42" fmla="*/ 2308285 h 3835942"/>
                <a:gd name="connsiteX43" fmla="*/ 118297 w 4510936"/>
                <a:gd name="connsiteY43" fmla="*/ 2287181 h 3835942"/>
                <a:gd name="connsiteX44" fmla="*/ 98842 w 4510936"/>
                <a:gd name="connsiteY44" fmla="*/ 2263602 h 3835942"/>
                <a:gd name="connsiteX45" fmla="*/ 0 w 4510936"/>
                <a:gd name="connsiteY45" fmla="*/ 1940013 h 3835942"/>
                <a:gd name="connsiteX46" fmla="*/ 98842 w 4510936"/>
                <a:gd name="connsiteY46" fmla="*/ 1616424 h 3835942"/>
                <a:gd name="connsiteX47" fmla="*/ 158494 w 4510936"/>
                <a:gd name="connsiteY47" fmla="*/ 1544125 h 3835942"/>
                <a:gd name="connsiteX48" fmla="*/ 138294 w 4510936"/>
                <a:gd name="connsiteY48" fmla="*/ 1479051 h 3835942"/>
                <a:gd name="connsiteX49" fmla="*/ 124645 w 4510936"/>
                <a:gd name="connsiteY49" fmla="*/ 1343654 h 3835942"/>
                <a:gd name="connsiteX50" fmla="*/ 534966 w 4510936"/>
                <a:gd name="connsiteY50" fmla="*/ 724623 h 3835942"/>
                <a:gd name="connsiteX51" fmla="*/ 655270 w 4510936"/>
                <a:gd name="connsiteY51" fmla="*/ 687278 h 3835942"/>
                <a:gd name="connsiteX52" fmla="*/ 663127 w 4510936"/>
                <a:gd name="connsiteY52" fmla="*/ 661967 h 3835942"/>
                <a:gd name="connsiteX53" fmla="*/ 1282159 w 4510936"/>
                <a:gd name="connsiteY53" fmla="*/ 251645 h 3835942"/>
                <a:gd name="connsiteX54" fmla="*/ 1417556 w 4510936"/>
                <a:gd name="connsiteY54" fmla="*/ 265294 h 3835942"/>
                <a:gd name="connsiteX55" fmla="*/ 1421411 w 4510936"/>
                <a:gd name="connsiteY55" fmla="*/ 266491 h 3835942"/>
                <a:gd name="connsiteX56" fmla="*/ 1478933 w 4510936"/>
                <a:gd name="connsiteY56" fmla="*/ 196773 h 3835942"/>
                <a:gd name="connsiteX57" fmla="*/ 1953986 w 4510936"/>
                <a:gd name="connsiteY5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218542 w 4510936"/>
                <a:gd name="connsiteY30" fmla="*/ 617399 h 3835942"/>
                <a:gd name="connsiteX31" fmla="*/ 2715985 w 4510936"/>
                <a:gd name="connsiteY31" fmla="*/ 947598 h 3835942"/>
                <a:gd name="connsiteX32" fmla="*/ 1948542 w 4510936"/>
                <a:gd name="connsiteY32" fmla="*/ 925827 h 3835942"/>
                <a:gd name="connsiteX33" fmla="*/ 2062843 w 4510936"/>
                <a:gd name="connsiteY33" fmla="*/ 403313 h 3835942"/>
                <a:gd name="connsiteX34" fmla="*/ 1816101 w 4510936"/>
                <a:gd name="connsiteY34" fmla="*/ 780685 h 3835942"/>
                <a:gd name="connsiteX35" fmla="*/ 1455057 w 4510936"/>
                <a:gd name="connsiteY35" fmla="*/ 898614 h 3835942"/>
                <a:gd name="connsiteX36" fmla="*/ 1556657 w 4510936"/>
                <a:gd name="connsiteY36" fmla="*/ 2852599 h 3835942"/>
                <a:gd name="connsiteX37" fmla="*/ 1580115 w 4510936"/>
                <a:gd name="connsiteY37" fmla="*/ 3729193 h 3835942"/>
                <a:gd name="connsiteX38" fmla="*/ 1581642 w 4510936"/>
                <a:gd name="connsiteY38" fmla="*/ 3835942 h 3835942"/>
                <a:gd name="connsiteX39" fmla="*/ 1113971 w 4510936"/>
                <a:gd name="connsiteY39" fmla="*/ 3835942 h 3835942"/>
                <a:gd name="connsiteX40" fmla="*/ 836413 w 4510936"/>
                <a:gd name="connsiteY40" fmla="*/ 3086585 h 3835942"/>
                <a:gd name="connsiteX41" fmla="*/ 116170 w 4510936"/>
                <a:gd name="connsiteY41" fmla="*/ 2308285 h 3835942"/>
                <a:gd name="connsiteX42" fmla="*/ 118297 w 4510936"/>
                <a:gd name="connsiteY42" fmla="*/ 2287181 h 3835942"/>
                <a:gd name="connsiteX43" fmla="*/ 98842 w 4510936"/>
                <a:gd name="connsiteY43" fmla="*/ 2263602 h 3835942"/>
                <a:gd name="connsiteX44" fmla="*/ 0 w 4510936"/>
                <a:gd name="connsiteY44" fmla="*/ 1940013 h 3835942"/>
                <a:gd name="connsiteX45" fmla="*/ 98842 w 4510936"/>
                <a:gd name="connsiteY45" fmla="*/ 1616424 h 3835942"/>
                <a:gd name="connsiteX46" fmla="*/ 158494 w 4510936"/>
                <a:gd name="connsiteY46" fmla="*/ 1544125 h 3835942"/>
                <a:gd name="connsiteX47" fmla="*/ 138294 w 4510936"/>
                <a:gd name="connsiteY47" fmla="*/ 1479051 h 3835942"/>
                <a:gd name="connsiteX48" fmla="*/ 124645 w 4510936"/>
                <a:gd name="connsiteY48" fmla="*/ 1343654 h 3835942"/>
                <a:gd name="connsiteX49" fmla="*/ 534966 w 4510936"/>
                <a:gd name="connsiteY49" fmla="*/ 724623 h 3835942"/>
                <a:gd name="connsiteX50" fmla="*/ 655270 w 4510936"/>
                <a:gd name="connsiteY50" fmla="*/ 687278 h 3835942"/>
                <a:gd name="connsiteX51" fmla="*/ 663127 w 4510936"/>
                <a:gd name="connsiteY51" fmla="*/ 661967 h 3835942"/>
                <a:gd name="connsiteX52" fmla="*/ 1282159 w 4510936"/>
                <a:gd name="connsiteY52" fmla="*/ 251645 h 3835942"/>
                <a:gd name="connsiteX53" fmla="*/ 1417556 w 4510936"/>
                <a:gd name="connsiteY53" fmla="*/ 265294 h 3835942"/>
                <a:gd name="connsiteX54" fmla="*/ 1421411 w 4510936"/>
                <a:gd name="connsiteY54" fmla="*/ 266491 h 3835942"/>
                <a:gd name="connsiteX55" fmla="*/ 1478933 w 4510936"/>
                <a:gd name="connsiteY55" fmla="*/ 196773 h 3835942"/>
                <a:gd name="connsiteX56" fmla="*/ 1953986 w 4510936"/>
                <a:gd name="connsiteY5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623457 w 4510936"/>
                <a:gd name="connsiteY27" fmla="*/ 1212485 h 3835942"/>
                <a:gd name="connsiteX28" fmla="*/ 3131457 w 4510936"/>
                <a:gd name="connsiteY28" fmla="*/ 1528170 h 3835942"/>
                <a:gd name="connsiteX29" fmla="*/ 3218542 w 4510936"/>
                <a:gd name="connsiteY29" fmla="*/ 617399 h 3835942"/>
                <a:gd name="connsiteX30" fmla="*/ 2715985 w 4510936"/>
                <a:gd name="connsiteY30" fmla="*/ 947598 h 3835942"/>
                <a:gd name="connsiteX31" fmla="*/ 1948542 w 4510936"/>
                <a:gd name="connsiteY31" fmla="*/ 925827 h 3835942"/>
                <a:gd name="connsiteX32" fmla="*/ 2062843 w 4510936"/>
                <a:gd name="connsiteY32" fmla="*/ 403313 h 3835942"/>
                <a:gd name="connsiteX33" fmla="*/ 1816101 w 4510936"/>
                <a:gd name="connsiteY33" fmla="*/ 780685 h 3835942"/>
                <a:gd name="connsiteX34" fmla="*/ 1455057 w 4510936"/>
                <a:gd name="connsiteY34" fmla="*/ 898614 h 3835942"/>
                <a:gd name="connsiteX35" fmla="*/ 1556657 w 4510936"/>
                <a:gd name="connsiteY35" fmla="*/ 2852599 h 3835942"/>
                <a:gd name="connsiteX36" fmla="*/ 1580115 w 4510936"/>
                <a:gd name="connsiteY36" fmla="*/ 3729193 h 3835942"/>
                <a:gd name="connsiteX37" fmla="*/ 1581642 w 4510936"/>
                <a:gd name="connsiteY37" fmla="*/ 3835942 h 3835942"/>
                <a:gd name="connsiteX38" fmla="*/ 1113971 w 4510936"/>
                <a:gd name="connsiteY38" fmla="*/ 3835942 h 3835942"/>
                <a:gd name="connsiteX39" fmla="*/ 836413 w 4510936"/>
                <a:gd name="connsiteY39" fmla="*/ 3086585 h 3835942"/>
                <a:gd name="connsiteX40" fmla="*/ 116170 w 4510936"/>
                <a:gd name="connsiteY40" fmla="*/ 2308285 h 3835942"/>
                <a:gd name="connsiteX41" fmla="*/ 118297 w 4510936"/>
                <a:gd name="connsiteY41" fmla="*/ 2287181 h 3835942"/>
                <a:gd name="connsiteX42" fmla="*/ 98842 w 4510936"/>
                <a:gd name="connsiteY42" fmla="*/ 2263602 h 3835942"/>
                <a:gd name="connsiteX43" fmla="*/ 0 w 4510936"/>
                <a:gd name="connsiteY43" fmla="*/ 1940013 h 3835942"/>
                <a:gd name="connsiteX44" fmla="*/ 98842 w 4510936"/>
                <a:gd name="connsiteY44" fmla="*/ 1616424 h 3835942"/>
                <a:gd name="connsiteX45" fmla="*/ 158494 w 4510936"/>
                <a:gd name="connsiteY45" fmla="*/ 1544125 h 3835942"/>
                <a:gd name="connsiteX46" fmla="*/ 138294 w 4510936"/>
                <a:gd name="connsiteY46" fmla="*/ 1479051 h 3835942"/>
                <a:gd name="connsiteX47" fmla="*/ 124645 w 4510936"/>
                <a:gd name="connsiteY47" fmla="*/ 1343654 h 3835942"/>
                <a:gd name="connsiteX48" fmla="*/ 534966 w 4510936"/>
                <a:gd name="connsiteY48" fmla="*/ 724623 h 3835942"/>
                <a:gd name="connsiteX49" fmla="*/ 655270 w 4510936"/>
                <a:gd name="connsiteY49" fmla="*/ 687278 h 3835942"/>
                <a:gd name="connsiteX50" fmla="*/ 663127 w 4510936"/>
                <a:gd name="connsiteY50" fmla="*/ 661967 h 3835942"/>
                <a:gd name="connsiteX51" fmla="*/ 1282159 w 4510936"/>
                <a:gd name="connsiteY51" fmla="*/ 251645 h 3835942"/>
                <a:gd name="connsiteX52" fmla="*/ 1417556 w 4510936"/>
                <a:gd name="connsiteY52" fmla="*/ 265294 h 3835942"/>
                <a:gd name="connsiteX53" fmla="*/ 1421411 w 4510936"/>
                <a:gd name="connsiteY53" fmla="*/ 266491 h 3835942"/>
                <a:gd name="connsiteX54" fmla="*/ 1478933 w 4510936"/>
                <a:gd name="connsiteY54" fmla="*/ 196773 h 3835942"/>
                <a:gd name="connsiteX55" fmla="*/ 1953986 w 4510936"/>
                <a:gd name="connsiteY5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3131457 w 4510936"/>
                <a:gd name="connsiteY27" fmla="*/ 1528170 h 3835942"/>
                <a:gd name="connsiteX28" fmla="*/ 3218542 w 4510936"/>
                <a:gd name="connsiteY28" fmla="*/ 617399 h 3835942"/>
                <a:gd name="connsiteX29" fmla="*/ 2715985 w 4510936"/>
                <a:gd name="connsiteY29" fmla="*/ 947598 h 3835942"/>
                <a:gd name="connsiteX30" fmla="*/ 1948542 w 4510936"/>
                <a:gd name="connsiteY30" fmla="*/ 925827 h 3835942"/>
                <a:gd name="connsiteX31" fmla="*/ 2062843 w 4510936"/>
                <a:gd name="connsiteY31" fmla="*/ 403313 h 3835942"/>
                <a:gd name="connsiteX32" fmla="*/ 1816101 w 4510936"/>
                <a:gd name="connsiteY32" fmla="*/ 780685 h 3835942"/>
                <a:gd name="connsiteX33" fmla="*/ 1455057 w 4510936"/>
                <a:gd name="connsiteY33" fmla="*/ 898614 h 3835942"/>
                <a:gd name="connsiteX34" fmla="*/ 1556657 w 4510936"/>
                <a:gd name="connsiteY34" fmla="*/ 2852599 h 3835942"/>
                <a:gd name="connsiteX35" fmla="*/ 1580115 w 4510936"/>
                <a:gd name="connsiteY35" fmla="*/ 3729193 h 3835942"/>
                <a:gd name="connsiteX36" fmla="*/ 1581642 w 4510936"/>
                <a:gd name="connsiteY36" fmla="*/ 3835942 h 3835942"/>
                <a:gd name="connsiteX37" fmla="*/ 1113971 w 4510936"/>
                <a:gd name="connsiteY37" fmla="*/ 3835942 h 3835942"/>
                <a:gd name="connsiteX38" fmla="*/ 836413 w 4510936"/>
                <a:gd name="connsiteY38" fmla="*/ 3086585 h 3835942"/>
                <a:gd name="connsiteX39" fmla="*/ 116170 w 4510936"/>
                <a:gd name="connsiteY39" fmla="*/ 2308285 h 3835942"/>
                <a:gd name="connsiteX40" fmla="*/ 118297 w 4510936"/>
                <a:gd name="connsiteY40" fmla="*/ 2287181 h 3835942"/>
                <a:gd name="connsiteX41" fmla="*/ 98842 w 4510936"/>
                <a:gd name="connsiteY41" fmla="*/ 2263602 h 3835942"/>
                <a:gd name="connsiteX42" fmla="*/ 0 w 4510936"/>
                <a:gd name="connsiteY42" fmla="*/ 1940013 h 3835942"/>
                <a:gd name="connsiteX43" fmla="*/ 98842 w 4510936"/>
                <a:gd name="connsiteY43" fmla="*/ 1616424 h 3835942"/>
                <a:gd name="connsiteX44" fmla="*/ 158494 w 4510936"/>
                <a:gd name="connsiteY44" fmla="*/ 1544125 h 3835942"/>
                <a:gd name="connsiteX45" fmla="*/ 138294 w 4510936"/>
                <a:gd name="connsiteY45" fmla="*/ 1479051 h 3835942"/>
                <a:gd name="connsiteX46" fmla="*/ 124645 w 4510936"/>
                <a:gd name="connsiteY46" fmla="*/ 1343654 h 3835942"/>
                <a:gd name="connsiteX47" fmla="*/ 534966 w 4510936"/>
                <a:gd name="connsiteY47" fmla="*/ 724623 h 3835942"/>
                <a:gd name="connsiteX48" fmla="*/ 655270 w 4510936"/>
                <a:gd name="connsiteY48" fmla="*/ 687278 h 3835942"/>
                <a:gd name="connsiteX49" fmla="*/ 663127 w 4510936"/>
                <a:gd name="connsiteY49" fmla="*/ 661967 h 3835942"/>
                <a:gd name="connsiteX50" fmla="*/ 1282159 w 4510936"/>
                <a:gd name="connsiteY50" fmla="*/ 251645 h 3835942"/>
                <a:gd name="connsiteX51" fmla="*/ 1417556 w 4510936"/>
                <a:gd name="connsiteY51" fmla="*/ 265294 h 3835942"/>
                <a:gd name="connsiteX52" fmla="*/ 1421411 w 4510936"/>
                <a:gd name="connsiteY52" fmla="*/ 266491 h 3835942"/>
                <a:gd name="connsiteX53" fmla="*/ 1478933 w 4510936"/>
                <a:gd name="connsiteY53" fmla="*/ 196773 h 3835942"/>
                <a:gd name="connsiteX54" fmla="*/ 1953986 w 4510936"/>
                <a:gd name="connsiteY5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131457 w 4510936"/>
                <a:gd name="connsiteY26" fmla="*/ 1528170 h 3835942"/>
                <a:gd name="connsiteX27" fmla="*/ 3218542 w 4510936"/>
                <a:gd name="connsiteY27" fmla="*/ 617399 h 3835942"/>
                <a:gd name="connsiteX28" fmla="*/ 2715985 w 4510936"/>
                <a:gd name="connsiteY28" fmla="*/ 947598 h 3835942"/>
                <a:gd name="connsiteX29" fmla="*/ 1948542 w 4510936"/>
                <a:gd name="connsiteY29" fmla="*/ 925827 h 3835942"/>
                <a:gd name="connsiteX30" fmla="*/ 2062843 w 4510936"/>
                <a:gd name="connsiteY30" fmla="*/ 403313 h 3835942"/>
                <a:gd name="connsiteX31" fmla="*/ 1816101 w 4510936"/>
                <a:gd name="connsiteY31" fmla="*/ 780685 h 3835942"/>
                <a:gd name="connsiteX32" fmla="*/ 1455057 w 4510936"/>
                <a:gd name="connsiteY32" fmla="*/ 898614 h 3835942"/>
                <a:gd name="connsiteX33" fmla="*/ 1556657 w 4510936"/>
                <a:gd name="connsiteY33" fmla="*/ 2852599 h 3835942"/>
                <a:gd name="connsiteX34" fmla="*/ 1580115 w 4510936"/>
                <a:gd name="connsiteY34" fmla="*/ 3729193 h 3835942"/>
                <a:gd name="connsiteX35" fmla="*/ 1581642 w 4510936"/>
                <a:gd name="connsiteY35" fmla="*/ 3835942 h 3835942"/>
                <a:gd name="connsiteX36" fmla="*/ 1113971 w 4510936"/>
                <a:gd name="connsiteY36" fmla="*/ 3835942 h 3835942"/>
                <a:gd name="connsiteX37" fmla="*/ 836413 w 4510936"/>
                <a:gd name="connsiteY37" fmla="*/ 3086585 h 3835942"/>
                <a:gd name="connsiteX38" fmla="*/ 116170 w 4510936"/>
                <a:gd name="connsiteY38" fmla="*/ 2308285 h 3835942"/>
                <a:gd name="connsiteX39" fmla="*/ 118297 w 4510936"/>
                <a:gd name="connsiteY39" fmla="*/ 2287181 h 3835942"/>
                <a:gd name="connsiteX40" fmla="*/ 98842 w 4510936"/>
                <a:gd name="connsiteY40" fmla="*/ 2263602 h 3835942"/>
                <a:gd name="connsiteX41" fmla="*/ 0 w 4510936"/>
                <a:gd name="connsiteY41" fmla="*/ 1940013 h 3835942"/>
                <a:gd name="connsiteX42" fmla="*/ 98842 w 4510936"/>
                <a:gd name="connsiteY42" fmla="*/ 1616424 h 3835942"/>
                <a:gd name="connsiteX43" fmla="*/ 158494 w 4510936"/>
                <a:gd name="connsiteY43" fmla="*/ 1544125 h 3835942"/>
                <a:gd name="connsiteX44" fmla="*/ 138294 w 4510936"/>
                <a:gd name="connsiteY44" fmla="*/ 1479051 h 3835942"/>
                <a:gd name="connsiteX45" fmla="*/ 124645 w 4510936"/>
                <a:gd name="connsiteY45" fmla="*/ 1343654 h 3835942"/>
                <a:gd name="connsiteX46" fmla="*/ 534966 w 4510936"/>
                <a:gd name="connsiteY46" fmla="*/ 724623 h 3835942"/>
                <a:gd name="connsiteX47" fmla="*/ 655270 w 4510936"/>
                <a:gd name="connsiteY47" fmla="*/ 687278 h 3835942"/>
                <a:gd name="connsiteX48" fmla="*/ 663127 w 4510936"/>
                <a:gd name="connsiteY48" fmla="*/ 661967 h 3835942"/>
                <a:gd name="connsiteX49" fmla="*/ 1282159 w 4510936"/>
                <a:gd name="connsiteY49" fmla="*/ 251645 h 3835942"/>
                <a:gd name="connsiteX50" fmla="*/ 1417556 w 4510936"/>
                <a:gd name="connsiteY50" fmla="*/ 265294 h 3835942"/>
                <a:gd name="connsiteX51" fmla="*/ 1421411 w 4510936"/>
                <a:gd name="connsiteY51" fmla="*/ 266491 h 3835942"/>
                <a:gd name="connsiteX52" fmla="*/ 1478933 w 4510936"/>
                <a:gd name="connsiteY52" fmla="*/ 196773 h 3835942"/>
                <a:gd name="connsiteX53" fmla="*/ 1953986 w 4510936"/>
                <a:gd name="connsiteY5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218542 w 4510936"/>
                <a:gd name="connsiteY26" fmla="*/ 617399 h 3835942"/>
                <a:gd name="connsiteX27" fmla="*/ 2715985 w 4510936"/>
                <a:gd name="connsiteY27" fmla="*/ 947598 h 3835942"/>
                <a:gd name="connsiteX28" fmla="*/ 1948542 w 4510936"/>
                <a:gd name="connsiteY28" fmla="*/ 925827 h 3835942"/>
                <a:gd name="connsiteX29" fmla="*/ 2062843 w 4510936"/>
                <a:gd name="connsiteY29" fmla="*/ 403313 h 3835942"/>
                <a:gd name="connsiteX30" fmla="*/ 1816101 w 4510936"/>
                <a:gd name="connsiteY30" fmla="*/ 780685 h 3835942"/>
                <a:gd name="connsiteX31" fmla="*/ 1455057 w 4510936"/>
                <a:gd name="connsiteY31" fmla="*/ 898614 h 3835942"/>
                <a:gd name="connsiteX32" fmla="*/ 1556657 w 4510936"/>
                <a:gd name="connsiteY32" fmla="*/ 2852599 h 3835942"/>
                <a:gd name="connsiteX33" fmla="*/ 1580115 w 4510936"/>
                <a:gd name="connsiteY33" fmla="*/ 3729193 h 3835942"/>
                <a:gd name="connsiteX34" fmla="*/ 1581642 w 4510936"/>
                <a:gd name="connsiteY34" fmla="*/ 3835942 h 3835942"/>
                <a:gd name="connsiteX35" fmla="*/ 1113971 w 4510936"/>
                <a:gd name="connsiteY35" fmla="*/ 3835942 h 3835942"/>
                <a:gd name="connsiteX36" fmla="*/ 836413 w 4510936"/>
                <a:gd name="connsiteY36" fmla="*/ 3086585 h 3835942"/>
                <a:gd name="connsiteX37" fmla="*/ 116170 w 4510936"/>
                <a:gd name="connsiteY37" fmla="*/ 2308285 h 3835942"/>
                <a:gd name="connsiteX38" fmla="*/ 118297 w 4510936"/>
                <a:gd name="connsiteY38" fmla="*/ 2287181 h 3835942"/>
                <a:gd name="connsiteX39" fmla="*/ 98842 w 4510936"/>
                <a:gd name="connsiteY39" fmla="*/ 2263602 h 3835942"/>
                <a:gd name="connsiteX40" fmla="*/ 0 w 4510936"/>
                <a:gd name="connsiteY40" fmla="*/ 1940013 h 3835942"/>
                <a:gd name="connsiteX41" fmla="*/ 98842 w 4510936"/>
                <a:gd name="connsiteY41" fmla="*/ 1616424 h 3835942"/>
                <a:gd name="connsiteX42" fmla="*/ 158494 w 4510936"/>
                <a:gd name="connsiteY42" fmla="*/ 1544125 h 3835942"/>
                <a:gd name="connsiteX43" fmla="*/ 138294 w 4510936"/>
                <a:gd name="connsiteY43" fmla="*/ 1479051 h 3835942"/>
                <a:gd name="connsiteX44" fmla="*/ 124645 w 4510936"/>
                <a:gd name="connsiteY44" fmla="*/ 1343654 h 3835942"/>
                <a:gd name="connsiteX45" fmla="*/ 534966 w 4510936"/>
                <a:gd name="connsiteY45" fmla="*/ 724623 h 3835942"/>
                <a:gd name="connsiteX46" fmla="*/ 655270 w 4510936"/>
                <a:gd name="connsiteY46" fmla="*/ 687278 h 3835942"/>
                <a:gd name="connsiteX47" fmla="*/ 663127 w 4510936"/>
                <a:gd name="connsiteY47" fmla="*/ 661967 h 3835942"/>
                <a:gd name="connsiteX48" fmla="*/ 1282159 w 4510936"/>
                <a:gd name="connsiteY48" fmla="*/ 251645 h 3835942"/>
                <a:gd name="connsiteX49" fmla="*/ 1417556 w 4510936"/>
                <a:gd name="connsiteY49" fmla="*/ 265294 h 3835942"/>
                <a:gd name="connsiteX50" fmla="*/ 1421411 w 4510936"/>
                <a:gd name="connsiteY50" fmla="*/ 266491 h 3835942"/>
                <a:gd name="connsiteX51" fmla="*/ 1478933 w 4510936"/>
                <a:gd name="connsiteY51" fmla="*/ 196773 h 3835942"/>
                <a:gd name="connsiteX52" fmla="*/ 1953986 w 4510936"/>
                <a:gd name="connsiteY5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715985 w 4510936"/>
                <a:gd name="connsiteY26" fmla="*/ 947598 h 3835942"/>
                <a:gd name="connsiteX27" fmla="*/ 1948542 w 4510936"/>
                <a:gd name="connsiteY27" fmla="*/ 925827 h 3835942"/>
                <a:gd name="connsiteX28" fmla="*/ 2062843 w 4510936"/>
                <a:gd name="connsiteY28" fmla="*/ 403313 h 3835942"/>
                <a:gd name="connsiteX29" fmla="*/ 1816101 w 4510936"/>
                <a:gd name="connsiteY29" fmla="*/ 780685 h 3835942"/>
                <a:gd name="connsiteX30" fmla="*/ 1455057 w 4510936"/>
                <a:gd name="connsiteY30" fmla="*/ 898614 h 3835942"/>
                <a:gd name="connsiteX31" fmla="*/ 1556657 w 4510936"/>
                <a:gd name="connsiteY31" fmla="*/ 2852599 h 3835942"/>
                <a:gd name="connsiteX32" fmla="*/ 1580115 w 4510936"/>
                <a:gd name="connsiteY32" fmla="*/ 3729193 h 3835942"/>
                <a:gd name="connsiteX33" fmla="*/ 1581642 w 4510936"/>
                <a:gd name="connsiteY33" fmla="*/ 3835942 h 3835942"/>
                <a:gd name="connsiteX34" fmla="*/ 1113971 w 4510936"/>
                <a:gd name="connsiteY34" fmla="*/ 3835942 h 3835942"/>
                <a:gd name="connsiteX35" fmla="*/ 836413 w 4510936"/>
                <a:gd name="connsiteY35" fmla="*/ 3086585 h 3835942"/>
                <a:gd name="connsiteX36" fmla="*/ 116170 w 4510936"/>
                <a:gd name="connsiteY36" fmla="*/ 2308285 h 3835942"/>
                <a:gd name="connsiteX37" fmla="*/ 118297 w 4510936"/>
                <a:gd name="connsiteY37" fmla="*/ 2287181 h 3835942"/>
                <a:gd name="connsiteX38" fmla="*/ 98842 w 4510936"/>
                <a:gd name="connsiteY38" fmla="*/ 2263602 h 3835942"/>
                <a:gd name="connsiteX39" fmla="*/ 0 w 4510936"/>
                <a:gd name="connsiteY39" fmla="*/ 1940013 h 3835942"/>
                <a:gd name="connsiteX40" fmla="*/ 98842 w 4510936"/>
                <a:gd name="connsiteY40" fmla="*/ 1616424 h 3835942"/>
                <a:gd name="connsiteX41" fmla="*/ 158494 w 4510936"/>
                <a:gd name="connsiteY41" fmla="*/ 1544125 h 3835942"/>
                <a:gd name="connsiteX42" fmla="*/ 138294 w 4510936"/>
                <a:gd name="connsiteY42" fmla="*/ 1479051 h 3835942"/>
                <a:gd name="connsiteX43" fmla="*/ 124645 w 4510936"/>
                <a:gd name="connsiteY43" fmla="*/ 1343654 h 3835942"/>
                <a:gd name="connsiteX44" fmla="*/ 534966 w 4510936"/>
                <a:gd name="connsiteY44" fmla="*/ 724623 h 3835942"/>
                <a:gd name="connsiteX45" fmla="*/ 655270 w 4510936"/>
                <a:gd name="connsiteY45" fmla="*/ 687278 h 3835942"/>
                <a:gd name="connsiteX46" fmla="*/ 663127 w 4510936"/>
                <a:gd name="connsiteY46" fmla="*/ 661967 h 3835942"/>
                <a:gd name="connsiteX47" fmla="*/ 1282159 w 4510936"/>
                <a:gd name="connsiteY47" fmla="*/ 251645 h 3835942"/>
                <a:gd name="connsiteX48" fmla="*/ 1417556 w 4510936"/>
                <a:gd name="connsiteY48" fmla="*/ 265294 h 3835942"/>
                <a:gd name="connsiteX49" fmla="*/ 1421411 w 4510936"/>
                <a:gd name="connsiteY49" fmla="*/ 266491 h 3835942"/>
                <a:gd name="connsiteX50" fmla="*/ 1478933 w 4510936"/>
                <a:gd name="connsiteY50" fmla="*/ 196773 h 3835942"/>
                <a:gd name="connsiteX51" fmla="*/ 1953986 w 4510936"/>
                <a:gd name="connsiteY5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948542 w 4510936"/>
                <a:gd name="connsiteY26" fmla="*/ 925827 h 3835942"/>
                <a:gd name="connsiteX27" fmla="*/ 2062843 w 4510936"/>
                <a:gd name="connsiteY27" fmla="*/ 403313 h 3835942"/>
                <a:gd name="connsiteX28" fmla="*/ 1816101 w 4510936"/>
                <a:gd name="connsiteY28" fmla="*/ 780685 h 3835942"/>
                <a:gd name="connsiteX29" fmla="*/ 1455057 w 4510936"/>
                <a:gd name="connsiteY29" fmla="*/ 898614 h 3835942"/>
                <a:gd name="connsiteX30" fmla="*/ 1556657 w 4510936"/>
                <a:gd name="connsiteY30" fmla="*/ 2852599 h 3835942"/>
                <a:gd name="connsiteX31" fmla="*/ 1580115 w 4510936"/>
                <a:gd name="connsiteY31" fmla="*/ 3729193 h 3835942"/>
                <a:gd name="connsiteX32" fmla="*/ 1581642 w 4510936"/>
                <a:gd name="connsiteY32" fmla="*/ 3835942 h 3835942"/>
                <a:gd name="connsiteX33" fmla="*/ 1113971 w 4510936"/>
                <a:gd name="connsiteY33" fmla="*/ 3835942 h 3835942"/>
                <a:gd name="connsiteX34" fmla="*/ 836413 w 4510936"/>
                <a:gd name="connsiteY34" fmla="*/ 3086585 h 3835942"/>
                <a:gd name="connsiteX35" fmla="*/ 116170 w 4510936"/>
                <a:gd name="connsiteY35" fmla="*/ 2308285 h 3835942"/>
                <a:gd name="connsiteX36" fmla="*/ 118297 w 4510936"/>
                <a:gd name="connsiteY36" fmla="*/ 2287181 h 3835942"/>
                <a:gd name="connsiteX37" fmla="*/ 98842 w 4510936"/>
                <a:gd name="connsiteY37" fmla="*/ 2263602 h 3835942"/>
                <a:gd name="connsiteX38" fmla="*/ 0 w 4510936"/>
                <a:gd name="connsiteY38" fmla="*/ 1940013 h 3835942"/>
                <a:gd name="connsiteX39" fmla="*/ 98842 w 4510936"/>
                <a:gd name="connsiteY39" fmla="*/ 1616424 h 3835942"/>
                <a:gd name="connsiteX40" fmla="*/ 158494 w 4510936"/>
                <a:gd name="connsiteY40" fmla="*/ 1544125 h 3835942"/>
                <a:gd name="connsiteX41" fmla="*/ 138294 w 4510936"/>
                <a:gd name="connsiteY41" fmla="*/ 1479051 h 3835942"/>
                <a:gd name="connsiteX42" fmla="*/ 124645 w 4510936"/>
                <a:gd name="connsiteY42" fmla="*/ 1343654 h 3835942"/>
                <a:gd name="connsiteX43" fmla="*/ 534966 w 4510936"/>
                <a:gd name="connsiteY43" fmla="*/ 724623 h 3835942"/>
                <a:gd name="connsiteX44" fmla="*/ 655270 w 4510936"/>
                <a:gd name="connsiteY44" fmla="*/ 687278 h 3835942"/>
                <a:gd name="connsiteX45" fmla="*/ 663127 w 4510936"/>
                <a:gd name="connsiteY45" fmla="*/ 661967 h 3835942"/>
                <a:gd name="connsiteX46" fmla="*/ 1282159 w 4510936"/>
                <a:gd name="connsiteY46" fmla="*/ 251645 h 3835942"/>
                <a:gd name="connsiteX47" fmla="*/ 1417556 w 4510936"/>
                <a:gd name="connsiteY47" fmla="*/ 265294 h 3835942"/>
                <a:gd name="connsiteX48" fmla="*/ 1421411 w 4510936"/>
                <a:gd name="connsiteY48" fmla="*/ 266491 h 3835942"/>
                <a:gd name="connsiteX49" fmla="*/ 1478933 w 4510936"/>
                <a:gd name="connsiteY49" fmla="*/ 196773 h 3835942"/>
                <a:gd name="connsiteX50" fmla="*/ 1953986 w 4510936"/>
                <a:gd name="connsiteY5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062843 w 4510936"/>
                <a:gd name="connsiteY26" fmla="*/ 403313 h 3835942"/>
                <a:gd name="connsiteX27" fmla="*/ 1816101 w 4510936"/>
                <a:gd name="connsiteY27" fmla="*/ 780685 h 3835942"/>
                <a:gd name="connsiteX28" fmla="*/ 1455057 w 4510936"/>
                <a:gd name="connsiteY28" fmla="*/ 898614 h 3835942"/>
                <a:gd name="connsiteX29" fmla="*/ 1556657 w 4510936"/>
                <a:gd name="connsiteY29" fmla="*/ 2852599 h 3835942"/>
                <a:gd name="connsiteX30" fmla="*/ 1580115 w 4510936"/>
                <a:gd name="connsiteY30" fmla="*/ 3729193 h 3835942"/>
                <a:gd name="connsiteX31" fmla="*/ 1581642 w 4510936"/>
                <a:gd name="connsiteY31" fmla="*/ 3835942 h 3835942"/>
                <a:gd name="connsiteX32" fmla="*/ 1113971 w 4510936"/>
                <a:gd name="connsiteY32" fmla="*/ 3835942 h 3835942"/>
                <a:gd name="connsiteX33" fmla="*/ 836413 w 4510936"/>
                <a:gd name="connsiteY33" fmla="*/ 3086585 h 3835942"/>
                <a:gd name="connsiteX34" fmla="*/ 116170 w 4510936"/>
                <a:gd name="connsiteY34" fmla="*/ 2308285 h 3835942"/>
                <a:gd name="connsiteX35" fmla="*/ 118297 w 4510936"/>
                <a:gd name="connsiteY35" fmla="*/ 2287181 h 3835942"/>
                <a:gd name="connsiteX36" fmla="*/ 98842 w 4510936"/>
                <a:gd name="connsiteY36" fmla="*/ 2263602 h 3835942"/>
                <a:gd name="connsiteX37" fmla="*/ 0 w 4510936"/>
                <a:gd name="connsiteY37" fmla="*/ 1940013 h 3835942"/>
                <a:gd name="connsiteX38" fmla="*/ 98842 w 4510936"/>
                <a:gd name="connsiteY38" fmla="*/ 1616424 h 3835942"/>
                <a:gd name="connsiteX39" fmla="*/ 158494 w 4510936"/>
                <a:gd name="connsiteY39" fmla="*/ 1544125 h 3835942"/>
                <a:gd name="connsiteX40" fmla="*/ 138294 w 4510936"/>
                <a:gd name="connsiteY40" fmla="*/ 1479051 h 3835942"/>
                <a:gd name="connsiteX41" fmla="*/ 124645 w 4510936"/>
                <a:gd name="connsiteY41" fmla="*/ 1343654 h 3835942"/>
                <a:gd name="connsiteX42" fmla="*/ 534966 w 4510936"/>
                <a:gd name="connsiteY42" fmla="*/ 724623 h 3835942"/>
                <a:gd name="connsiteX43" fmla="*/ 655270 w 4510936"/>
                <a:gd name="connsiteY43" fmla="*/ 687278 h 3835942"/>
                <a:gd name="connsiteX44" fmla="*/ 663127 w 4510936"/>
                <a:gd name="connsiteY44" fmla="*/ 661967 h 3835942"/>
                <a:gd name="connsiteX45" fmla="*/ 1282159 w 4510936"/>
                <a:gd name="connsiteY45" fmla="*/ 251645 h 3835942"/>
                <a:gd name="connsiteX46" fmla="*/ 1417556 w 4510936"/>
                <a:gd name="connsiteY46" fmla="*/ 265294 h 3835942"/>
                <a:gd name="connsiteX47" fmla="*/ 1421411 w 4510936"/>
                <a:gd name="connsiteY47" fmla="*/ 266491 h 3835942"/>
                <a:gd name="connsiteX48" fmla="*/ 1478933 w 4510936"/>
                <a:gd name="connsiteY48" fmla="*/ 196773 h 3835942"/>
                <a:gd name="connsiteX49" fmla="*/ 1953986 w 4510936"/>
                <a:gd name="connsiteY4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816101 w 4510936"/>
                <a:gd name="connsiteY26" fmla="*/ 780685 h 3835942"/>
                <a:gd name="connsiteX27" fmla="*/ 1455057 w 4510936"/>
                <a:gd name="connsiteY27" fmla="*/ 898614 h 3835942"/>
                <a:gd name="connsiteX28" fmla="*/ 1556657 w 4510936"/>
                <a:gd name="connsiteY28" fmla="*/ 2852599 h 3835942"/>
                <a:gd name="connsiteX29" fmla="*/ 1580115 w 4510936"/>
                <a:gd name="connsiteY29" fmla="*/ 3729193 h 3835942"/>
                <a:gd name="connsiteX30" fmla="*/ 1581642 w 4510936"/>
                <a:gd name="connsiteY30" fmla="*/ 3835942 h 3835942"/>
                <a:gd name="connsiteX31" fmla="*/ 1113971 w 4510936"/>
                <a:gd name="connsiteY31" fmla="*/ 3835942 h 3835942"/>
                <a:gd name="connsiteX32" fmla="*/ 836413 w 4510936"/>
                <a:gd name="connsiteY32" fmla="*/ 3086585 h 3835942"/>
                <a:gd name="connsiteX33" fmla="*/ 116170 w 4510936"/>
                <a:gd name="connsiteY33" fmla="*/ 2308285 h 3835942"/>
                <a:gd name="connsiteX34" fmla="*/ 118297 w 4510936"/>
                <a:gd name="connsiteY34" fmla="*/ 2287181 h 3835942"/>
                <a:gd name="connsiteX35" fmla="*/ 98842 w 4510936"/>
                <a:gd name="connsiteY35" fmla="*/ 2263602 h 3835942"/>
                <a:gd name="connsiteX36" fmla="*/ 0 w 4510936"/>
                <a:gd name="connsiteY36" fmla="*/ 1940013 h 3835942"/>
                <a:gd name="connsiteX37" fmla="*/ 98842 w 4510936"/>
                <a:gd name="connsiteY37" fmla="*/ 1616424 h 3835942"/>
                <a:gd name="connsiteX38" fmla="*/ 158494 w 4510936"/>
                <a:gd name="connsiteY38" fmla="*/ 1544125 h 3835942"/>
                <a:gd name="connsiteX39" fmla="*/ 138294 w 4510936"/>
                <a:gd name="connsiteY39" fmla="*/ 1479051 h 3835942"/>
                <a:gd name="connsiteX40" fmla="*/ 124645 w 4510936"/>
                <a:gd name="connsiteY40" fmla="*/ 1343654 h 3835942"/>
                <a:gd name="connsiteX41" fmla="*/ 534966 w 4510936"/>
                <a:gd name="connsiteY41" fmla="*/ 724623 h 3835942"/>
                <a:gd name="connsiteX42" fmla="*/ 655270 w 4510936"/>
                <a:gd name="connsiteY42" fmla="*/ 687278 h 3835942"/>
                <a:gd name="connsiteX43" fmla="*/ 663127 w 4510936"/>
                <a:gd name="connsiteY43" fmla="*/ 661967 h 3835942"/>
                <a:gd name="connsiteX44" fmla="*/ 1282159 w 4510936"/>
                <a:gd name="connsiteY44" fmla="*/ 251645 h 3835942"/>
                <a:gd name="connsiteX45" fmla="*/ 1417556 w 4510936"/>
                <a:gd name="connsiteY45" fmla="*/ 265294 h 3835942"/>
                <a:gd name="connsiteX46" fmla="*/ 1421411 w 4510936"/>
                <a:gd name="connsiteY46" fmla="*/ 266491 h 3835942"/>
                <a:gd name="connsiteX47" fmla="*/ 1478933 w 4510936"/>
                <a:gd name="connsiteY47" fmla="*/ 196773 h 3835942"/>
                <a:gd name="connsiteX48" fmla="*/ 1953986 w 4510936"/>
                <a:gd name="connsiteY4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455057 w 4510936"/>
                <a:gd name="connsiteY26" fmla="*/ 898614 h 3835942"/>
                <a:gd name="connsiteX27" fmla="*/ 1556657 w 4510936"/>
                <a:gd name="connsiteY27" fmla="*/ 2852599 h 3835942"/>
                <a:gd name="connsiteX28" fmla="*/ 1580115 w 4510936"/>
                <a:gd name="connsiteY28" fmla="*/ 3729193 h 3835942"/>
                <a:gd name="connsiteX29" fmla="*/ 1581642 w 4510936"/>
                <a:gd name="connsiteY29" fmla="*/ 3835942 h 3835942"/>
                <a:gd name="connsiteX30" fmla="*/ 1113971 w 4510936"/>
                <a:gd name="connsiteY30" fmla="*/ 3835942 h 3835942"/>
                <a:gd name="connsiteX31" fmla="*/ 836413 w 4510936"/>
                <a:gd name="connsiteY31" fmla="*/ 3086585 h 3835942"/>
                <a:gd name="connsiteX32" fmla="*/ 116170 w 4510936"/>
                <a:gd name="connsiteY32" fmla="*/ 2308285 h 3835942"/>
                <a:gd name="connsiteX33" fmla="*/ 118297 w 4510936"/>
                <a:gd name="connsiteY33" fmla="*/ 2287181 h 3835942"/>
                <a:gd name="connsiteX34" fmla="*/ 98842 w 4510936"/>
                <a:gd name="connsiteY34" fmla="*/ 2263602 h 3835942"/>
                <a:gd name="connsiteX35" fmla="*/ 0 w 4510936"/>
                <a:gd name="connsiteY35" fmla="*/ 1940013 h 3835942"/>
                <a:gd name="connsiteX36" fmla="*/ 98842 w 4510936"/>
                <a:gd name="connsiteY36" fmla="*/ 1616424 h 3835942"/>
                <a:gd name="connsiteX37" fmla="*/ 158494 w 4510936"/>
                <a:gd name="connsiteY37" fmla="*/ 1544125 h 3835942"/>
                <a:gd name="connsiteX38" fmla="*/ 138294 w 4510936"/>
                <a:gd name="connsiteY38" fmla="*/ 1479051 h 3835942"/>
                <a:gd name="connsiteX39" fmla="*/ 124645 w 4510936"/>
                <a:gd name="connsiteY39" fmla="*/ 1343654 h 3835942"/>
                <a:gd name="connsiteX40" fmla="*/ 534966 w 4510936"/>
                <a:gd name="connsiteY40" fmla="*/ 724623 h 3835942"/>
                <a:gd name="connsiteX41" fmla="*/ 655270 w 4510936"/>
                <a:gd name="connsiteY41" fmla="*/ 687278 h 3835942"/>
                <a:gd name="connsiteX42" fmla="*/ 663127 w 4510936"/>
                <a:gd name="connsiteY42" fmla="*/ 661967 h 3835942"/>
                <a:gd name="connsiteX43" fmla="*/ 1282159 w 4510936"/>
                <a:gd name="connsiteY43" fmla="*/ 251645 h 3835942"/>
                <a:gd name="connsiteX44" fmla="*/ 1417556 w 4510936"/>
                <a:gd name="connsiteY44" fmla="*/ 265294 h 3835942"/>
                <a:gd name="connsiteX45" fmla="*/ 1421411 w 4510936"/>
                <a:gd name="connsiteY45" fmla="*/ 266491 h 3835942"/>
                <a:gd name="connsiteX46" fmla="*/ 1478933 w 4510936"/>
                <a:gd name="connsiteY46" fmla="*/ 196773 h 3835942"/>
                <a:gd name="connsiteX47" fmla="*/ 1953986 w 4510936"/>
                <a:gd name="connsiteY4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556657 w 4510936"/>
                <a:gd name="connsiteY26" fmla="*/ 2852599 h 3835942"/>
                <a:gd name="connsiteX27" fmla="*/ 1580115 w 4510936"/>
                <a:gd name="connsiteY27" fmla="*/ 3729193 h 3835942"/>
                <a:gd name="connsiteX28" fmla="*/ 1581642 w 4510936"/>
                <a:gd name="connsiteY28" fmla="*/ 3835942 h 3835942"/>
                <a:gd name="connsiteX29" fmla="*/ 1113971 w 4510936"/>
                <a:gd name="connsiteY29" fmla="*/ 3835942 h 3835942"/>
                <a:gd name="connsiteX30" fmla="*/ 836413 w 4510936"/>
                <a:gd name="connsiteY30" fmla="*/ 3086585 h 3835942"/>
                <a:gd name="connsiteX31" fmla="*/ 116170 w 4510936"/>
                <a:gd name="connsiteY31" fmla="*/ 2308285 h 3835942"/>
                <a:gd name="connsiteX32" fmla="*/ 118297 w 4510936"/>
                <a:gd name="connsiteY32" fmla="*/ 2287181 h 3835942"/>
                <a:gd name="connsiteX33" fmla="*/ 98842 w 4510936"/>
                <a:gd name="connsiteY33" fmla="*/ 2263602 h 3835942"/>
                <a:gd name="connsiteX34" fmla="*/ 0 w 4510936"/>
                <a:gd name="connsiteY34" fmla="*/ 1940013 h 3835942"/>
                <a:gd name="connsiteX35" fmla="*/ 98842 w 4510936"/>
                <a:gd name="connsiteY35" fmla="*/ 1616424 h 3835942"/>
                <a:gd name="connsiteX36" fmla="*/ 158494 w 4510936"/>
                <a:gd name="connsiteY36" fmla="*/ 1544125 h 3835942"/>
                <a:gd name="connsiteX37" fmla="*/ 138294 w 4510936"/>
                <a:gd name="connsiteY37" fmla="*/ 1479051 h 3835942"/>
                <a:gd name="connsiteX38" fmla="*/ 124645 w 4510936"/>
                <a:gd name="connsiteY38" fmla="*/ 1343654 h 3835942"/>
                <a:gd name="connsiteX39" fmla="*/ 534966 w 4510936"/>
                <a:gd name="connsiteY39" fmla="*/ 724623 h 3835942"/>
                <a:gd name="connsiteX40" fmla="*/ 655270 w 4510936"/>
                <a:gd name="connsiteY40" fmla="*/ 687278 h 3835942"/>
                <a:gd name="connsiteX41" fmla="*/ 663127 w 4510936"/>
                <a:gd name="connsiteY41" fmla="*/ 661967 h 3835942"/>
                <a:gd name="connsiteX42" fmla="*/ 1282159 w 4510936"/>
                <a:gd name="connsiteY42" fmla="*/ 251645 h 3835942"/>
                <a:gd name="connsiteX43" fmla="*/ 1417556 w 4510936"/>
                <a:gd name="connsiteY43" fmla="*/ 265294 h 3835942"/>
                <a:gd name="connsiteX44" fmla="*/ 1421411 w 4510936"/>
                <a:gd name="connsiteY44" fmla="*/ 266491 h 3835942"/>
                <a:gd name="connsiteX45" fmla="*/ 1478933 w 4510936"/>
                <a:gd name="connsiteY45" fmla="*/ 196773 h 3835942"/>
                <a:gd name="connsiteX46" fmla="*/ 1953986 w 4510936"/>
                <a:gd name="connsiteY4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1556657 w 4510936"/>
                <a:gd name="connsiteY25" fmla="*/ 2852599 h 3835942"/>
                <a:gd name="connsiteX26" fmla="*/ 1580115 w 4510936"/>
                <a:gd name="connsiteY26" fmla="*/ 3729193 h 3835942"/>
                <a:gd name="connsiteX27" fmla="*/ 1581642 w 4510936"/>
                <a:gd name="connsiteY27" fmla="*/ 3835942 h 3835942"/>
                <a:gd name="connsiteX28" fmla="*/ 1113971 w 4510936"/>
                <a:gd name="connsiteY28" fmla="*/ 3835942 h 3835942"/>
                <a:gd name="connsiteX29" fmla="*/ 836413 w 4510936"/>
                <a:gd name="connsiteY29" fmla="*/ 3086585 h 3835942"/>
                <a:gd name="connsiteX30" fmla="*/ 116170 w 4510936"/>
                <a:gd name="connsiteY30" fmla="*/ 2308285 h 3835942"/>
                <a:gd name="connsiteX31" fmla="*/ 118297 w 4510936"/>
                <a:gd name="connsiteY31" fmla="*/ 2287181 h 3835942"/>
                <a:gd name="connsiteX32" fmla="*/ 98842 w 4510936"/>
                <a:gd name="connsiteY32" fmla="*/ 2263602 h 3835942"/>
                <a:gd name="connsiteX33" fmla="*/ 0 w 4510936"/>
                <a:gd name="connsiteY33" fmla="*/ 1940013 h 3835942"/>
                <a:gd name="connsiteX34" fmla="*/ 98842 w 4510936"/>
                <a:gd name="connsiteY34" fmla="*/ 1616424 h 3835942"/>
                <a:gd name="connsiteX35" fmla="*/ 158494 w 4510936"/>
                <a:gd name="connsiteY35" fmla="*/ 1544125 h 3835942"/>
                <a:gd name="connsiteX36" fmla="*/ 138294 w 4510936"/>
                <a:gd name="connsiteY36" fmla="*/ 1479051 h 3835942"/>
                <a:gd name="connsiteX37" fmla="*/ 124645 w 4510936"/>
                <a:gd name="connsiteY37" fmla="*/ 1343654 h 3835942"/>
                <a:gd name="connsiteX38" fmla="*/ 534966 w 4510936"/>
                <a:gd name="connsiteY38" fmla="*/ 724623 h 3835942"/>
                <a:gd name="connsiteX39" fmla="*/ 655270 w 4510936"/>
                <a:gd name="connsiteY39" fmla="*/ 687278 h 3835942"/>
                <a:gd name="connsiteX40" fmla="*/ 663127 w 4510936"/>
                <a:gd name="connsiteY40" fmla="*/ 661967 h 3835942"/>
                <a:gd name="connsiteX41" fmla="*/ 1282159 w 4510936"/>
                <a:gd name="connsiteY41" fmla="*/ 251645 h 3835942"/>
                <a:gd name="connsiteX42" fmla="*/ 1417556 w 4510936"/>
                <a:gd name="connsiteY42" fmla="*/ 265294 h 3835942"/>
                <a:gd name="connsiteX43" fmla="*/ 1421411 w 4510936"/>
                <a:gd name="connsiteY43" fmla="*/ 266491 h 3835942"/>
                <a:gd name="connsiteX44" fmla="*/ 1478933 w 4510936"/>
                <a:gd name="connsiteY44" fmla="*/ 196773 h 3835942"/>
                <a:gd name="connsiteX45" fmla="*/ 1953986 w 4510936"/>
                <a:gd name="connsiteY4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850570 w 4510936"/>
                <a:gd name="connsiteY22" fmla="*/ 2130513 h 3835942"/>
                <a:gd name="connsiteX23" fmla="*/ 2148114 w 4510936"/>
                <a:gd name="connsiteY23" fmla="*/ 1901913 h 3835942"/>
                <a:gd name="connsiteX24" fmla="*/ 1556657 w 4510936"/>
                <a:gd name="connsiteY24" fmla="*/ 2852599 h 3835942"/>
                <a:gd name="connsiteX25" fmla="*/ 1580115 w 4510936"/>
                <a:gd name="connsiteY25" fmla="*/ 3729193 h 3835942"/>
                <a:gd name="connsiteX26" fmla="*/ 1581642 w 4510936"/>
                <a:gd name="connsiteY26" fmla="*/ 3835942 h 3835942"/>
                <a:gd name="connsiteX27" fmla="*/ 1113971 w 4510936"/>
                <a:gd name="connsiteY27" fmla="*/ 3835942 h 3835942"/>
                <a:gd name="connsiteX28" fmla="*/ 836413 w 4510936"/>
                <a:gd name="connsiteY28" fmla="*/ 3086585 h 3835942"/>
                <a:gd name="connsiteX29" fmla="*/ 116170 w 4510936"/>
                <a:gd name="connsiteY29" fmla="*/ 2308285 h 3835942"/>
                <a:gd name="connsiteX30" fmla="*/ 118297 w 4510936"/>
                <a:gd name="connsiteY30" fmla="*/ 2287181 h 3835942"/>
                <a:gd name="connsiteX31" fmla="*/ 98842 w 4510936"/>
                <a:gd name="connsiteY31" fmla="*/ 2263602 h 3835942"/>
                <a:gd name="connsiteX32" fmla="*/ 0 w 4510936"/>
                <a:gd name="connsiteY32" fmla="*/ 1940013 h 3835942"/>
                <a:gd name="connsiteX33" fmla="*/ 98842 w 4510936"/>
                <a:gd name="connsiteY33" fmla="*/ 1616424 h 3835942"/>
                <a:gd name="connsiteX34" fmla="*/ 158494 w 4510936"/>
                <a:gd name="connsiteY34" fmla="*/ 1544125 h 3835942"/>
                <a:gd name="connsiteX35" fmla="*/ 138294 w 4510936"/>
                <a:gd name="connsiteY35" fmla="*/ 1479051 h 3835942"/>
                <a:gd name="connsiteX36" fmla="*/ 124645 w 4510936"/>
                <a:gd name="connsiteY36" fmla="*/ 1343654 h 3835942"/>
                <a:gd name="connsiteX37" fmla="*/ 534966 w 4510936"/>
                <a:gd name="connsiteY37" fmla="*/ 724623 h 3835942"/>
                <a:gd name="connsiteX38" fmla="*/ 655270 w 4510936"/>
                <a:gd name="connsiteY38" fmla="*/ 687278 h 3835942"/>
                <a:gd name="connsiteX39" fmla="*/ 663127 w 4510936"/>
                <a:gd name="connsiteY39" fmla="*/ 661967 h 3835942"/>
                <a:gd name="connsiteX40" fmla="*/ 1282159 w 4510936"/>
                <a:gd name="connsiteY40" fmla="*/ 251645 h 3835942"/>
                <a:gd name="connsiteX41" fmla="*/ 1417556 w 4510936"/>
                <a:gd name="connsiteY41" fmla="*/ 265294 h 3835942"/>
                <a:gd name="connsiteX42" fmla="*/ 1421411 w 4510936"/>
                <a:gd name="connsiteY42" fmla="*/ 266491 h 3835942"/>
                <a:gd name="connsiteX43" fmla="*/ 1478933 w 4510936"/>
                <a:gd name="connsiteY43" fmla="*/ 196773 h 3835942"/>
                <a:gd name="connsiteX44" fmla="*/ 1953986 w 4510936"/>
                <a:gd name="connsiteY4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850570 w 4510936"/>
                <a:gd name="connsiteY21" fmla="*/ 2130513 h 3835942"/>
                <a:gd name="connsiteX22" fmla="*/ 2148114 w 4510936"/>
                <a:gd name="connsiteY22" fmla="*/ 1901913 h 3835942"/>
                <a:gd name="connsiteX23" fmla="*/ 1556657 w 4510936"/>
                <a:gd name="connsiteY23" fmla="*/ 2852599 h 3835942"/>
                <a:gd name="connsiteX24" fmla="*/ 1580115 w 4510936"/>
                <a:gd name="connsiteY24" fmla="*/ 3729193 h 3835942"/>
                <a:gd name="connsiteX25" fmla="*/ 1581642 w 4510936"/>
                <a:gd name="connsiteY25" fmla="*/ 3835942 h 3835942"/>
                <a:gd name="connsiteX26" fmla="*/ 1113971 w 4510936"/>
                <a:gd name="connsiteY26" fmla="*/ 3835942 h 3835942"/>
                <a:gd name="connsiteX27" fmla="*/ 836413 w 4510936"/>
                <a:gd name="connsiteY27" fmla="*/ 3086585 h 3835942"/>
                <a:gd name="connsiteX28" fmla="*/ 116170 w 4510936"/>
                <a:gd name="connsiteY28" fmla="*/ 2308285 h 3835942"/>
                <a:gd name="connsiteX29" fmla="*/ 118297 w 4510936"/>
                <a:gd name="connsiteY29" fmla="*/ 2287181 h 3835942"/>
                <a:gd name="connsiteX30" fmla="*/ 98842 w 4510936"/>
                <a:gd name="connsiteY30" fmla="*/ 2263602 h 3835942"/>
                <a:gd name="connsiteX31" fmla="*/ 0 w 4510936"/>
                <a:gd name="connsiteY31" fmla="*/ 1940013 h 3835942"/>
                <a:gd name="connsiteX32" fmla="*/ 98842 w 4510936"/>
                <a:gd name="connsiteY32" fmla="*/ 1616424 h 3835942"/>
                <a:gd name="connsiteX33" fmla="*/ 158494 w 4510936"/>
                <a:gd name="connsiteY33" fmla="*/ 1544125 h 3835942"/>
                <a:gd name="connsiteX34" fmla="*/ 138294 w 4510936"/>
                <a:gd name="connsiteY34" fmla="*/ 1479051 h 3835942"/>
                <a:gd name="connsiteX35" fmla="*/ 124645 w 4510936"/>
                <a:gd name="connsiteY35" fmla="*/ 1343654 h 3835942"/>
                <a:gd name="connsiteX36" fmla="*/ 534966 w 4510936"/>
                <a:gd name="connsiteY36" fmla="*/ 724623 h 3835942"/>
                <a:gd name="connsiteX37" fmla="*/ 655270 w 4510936"/>
                <a:gd name="connsiteY37" fmla="*/ 687278 h 3835942"/>
                <a:gd name="connsiteX38" fmla="*/ 663127 w 4510936"/>
                <a:gd name="connsiteY38" fmla="*/ 661967 h 3835942"/>
                <a:gd name="connsiteX39" fmla="*/ 1282159 w 4510936"/>
                <a:gd name="connsiteY39" fmla="*/ 251645 h 3835942"/>
                <a:gd name="connsiteX40" fmla="*/ 1417556 w 4510936"/>
                <a:gd name="connsiteY40" fmla="*/ 265294 h 3835942"/>
                <a:gd name="connsiteX41" fmla="*/ 1421411 w 4510936"/>
                <a:gd name="connsiteY41" fmla="*/ 266491 h 3835942"/>
                <a:gd name="connsiteX42" fmla="*/ 1478933 w 4510936"/>
                <a:gd name="connsiteY42" fmla="*/ 196773 h 3835942"/>
                <a:gd name="connsiteX43" fmla="*/ 1953986 w 4510936"/>
                <a:gd name="connsiteY4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850570 w 4510936"/>
                <a:gd name="connsiteY20" fmla="*/ 2130513 h 3835942"/>
                <a:gd name="connsiteX21" fmla="*/ 2148114 w 4510936"/>
                <a:gd name="connsiteY21" fmla="*/ 1901913 h 3835942"/>
                <a:gd name="connsiteX22" fmla="*/ 1556657 w 4510936"/>
                <a:gd name="connsiteY22" fmla="*/ 2852599 h 3835942"/>
                <a:gd name="connsiteX23" fmla="*/ 1580115 w 4510936"/>
                <a:gd name="connsiteY23" fmla="*/ 3729193 h 3835942"/>
                <a:gd name="connsiteX24" fmla="*/ 1581642 w 4510936"/>
                <a:gd name="connsiteY24" fmla="*/ 3835942 h 3835942"/>
                <a:gd name="connsiteX25" fmla="*/ 1113971 w 4510936"/>
                <a:gd name="connsiteY25" fmla="*/ 3835942 h 3835942"/>
                <a:gd name="connsiteX26" fmla="*/ 836413 w 4510936"/>
                <a:gd name="connsiteY26" fmla="*/ 3086585 h 3835942"/>
                <a:gd name="connsiteX27" fmla="*/ 116170 w 4510936"/>
                <a:gd name="connsiteY27" fmla="*/ 2308285 h 3835942"/>
                <a:gd name="connsiteX28" fmla="*/ 118297 w 4510936"/>
                <a:gd name="connsiteY28" fmla="*/ 2287181 h 3835942"/>
                <a:gd name="connsiteX29" fmla="*/ 98842 w 4510936"/>
                <a:gd name="connsiteY29" fmla="*/ 2263602 h 3835942"/>
                <a:gd name="connsiteX30" fmla="*/ 0 w 4510936"/>
                <a:gd name="connsiteY30" fmla="*/ 1940013 h 3835942"/>
                <a:gd name="connsiteX31" fmla="*/ 98842 w 4510936"/>
                <a:gd name="connsiteY31" fmla="*/ 1616424 h 3835942"/>
                <a:gd name="connsiteX32" fmla="*/ 158494 w 4510936"/>
                <a:gd name="connsiteY32" fmla="*/ 1544125 h 3835942"/>
                <a:gd name="connsiteX33" fmla="*/ 138294 w 4510936"/>
                <a:gd name="connsiteY33" fmla="*/ 1479051 h 3835942"/>
                <a:gd name="connsiteX34" fmla="*/ 124645 w 4510936"/>
                <a:gd name="connsiteY34" fmla="*/ 1343654 h 3835942"/>
                <a:gd name="connsiteX35" fmla="*/ 534966 w 4510936"/>
                <a:gd name="connsiteY35" fmla="*/ 724623 h 3835942"/>
                <a:gd name="connsiteX36" fmla="*/ 655270 w 4510936"/>
                <a:gd name="connsiteY36" fmla="*/ 687278 h 3835942"/>
                <a:gd name="connsiteX37" fmla="*/ 663127 w 4510936"/>
                <a:gd name="connsiteY37" fmla="*/ 661967 h 3835942"/>
                <a:gd name="connsiteX38" fmla="*/ 1282159 w 4510936"/>
                <a:gd name="connsiteY38" fmla="*/ 251645 h 3835942"/>
                <a:gd name="connsiteX39" fmla="*/ 1417556 w 4510936"/>
                <a:gd name="connsiteY39" fmla="*/ 265294 h 3835942"/>
                <a:gd name="connsiteX40" fmla="*/ 1421411 w 4510936"/>
                <a:gd name="connsiteY40" fmla="*/ 266491 h 3835942"/>
                <a:gd name="connsiteX41" fmla="*/ 1478933 w 4510936"/>
                <a:gd name="connsiteY41" fmla="*/ 196773 h 3835942"/>
                <a:gd name="connsiteX42" fmla="*/ 1953986 w 4510936"/>
                <a:gd name="connsiteY4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850570 w 4510936"/>
                <a:gd name="connsiteY19" fmla="*/ 2130513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33865 w 4510936"/>
                <a:gd name="connsiteY19" fmla="*/ 1977965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33865 w 4510936"/>
                <a:gd name="connsiteY18" fmla="*/ 1977965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48114 w 4510936"/>
                <a:gd name="connsiteY18" fmla="*/ 1901913 h 3835942"/>
                <a:gd name="connsiteX19" fmla="*/ 1556657 w 4510936"/>
                <a:gd name="connsiteY19" fmla="*/ 2852599 h 3835942"/>
                <a:gd name="connsiteX20" fmla="*/ 1580115 w 4510936"/>
                <a:gd name="connsiteY20" fmla="*/ 3729193 h 3835942"/>
                <a:gd name="connsiteX21" fmla="*/ 1581642 w 4510936"/>
                <a:gd name="connsiteY21" fmla="*/ 3835942 h 3835942"/>
                <a:gd name="connsiteX22" fmla="*/ 1113971 w 4510936"/>
                <a:gd name="connsiteY22" fmla="*/ 3835942 h 3835942"/>
                <a:gd name="connsiteX23" fmla="*/ 836413 w 4510936"/>
                <a:gd name="connsiteY23" fmla="*/ 3086585 h 3835942"/>
                <a:gd name="connsiteX24" fmla="*/ 116170 w 4510936"/>
                <a:gd name="connsiteY24" fmla="*/ 2308285 h 3835942"/>
                <a:gd name="connsiteX25" fmla="*/ 118297 w 4510936"/>
                <a:gd name="connsiteY25" fmla="*/ 2287181 h 3835942"/>
                <a:gd name="connsiteX26" fmla="*/ 98842 w 4510936"/>
                <a:gd name="connsiteY26" fmla="*/ 2263602 h 3835942"/>
                <a:gd name="connsiteX27" fmla="*/ 0 w 4510936"/>
                <a:gd name="connsiteY27" fmla="*/ 1940013 h 3835942"/>
                <a:gd name="connsiteX28" fmla="*/ 98842 w 4510936"/>
                <a:gd name="connsiteY28" fmla="*/ 1616424 h 3835942"/>
                <a:gd name="connsiteX29" fmla="*/ 158494 w 4510936"/>
                <a:gd name="connsiteY29" fmla="*/ 1544125 h 3835942"/>
                <a:gd name="connsiteX30" fmla="*/ 138294 w 4510936"/>
                <a:gd name="connsiteY30" fmla="*/ 1479051 h 3835942"/>
                <a:gd name="connsiteX31" fmla="*/ 124645 w 4510936"/>
                <a:gd name="connsiteY31" fmla="*/ 1343654 h 3835942"/>
                <a:gd name="connsiteX32" fmla="*/ 534966 w 4510936"/>
                <a:gd name="connsiteY32" fmla="*/ 724623 h 3835942"/>
                <a:gd name="connsiteX33" fmla="*/ 655270 w 4510936"/>
                <a:gd name="connsiteY33" fmla="*/ 687278 h 3835942"/>
                <a:gd name="connsiteX34" fmla="*/ 663127 w 4510936"/>
                <a:gd name="connsiteY34" fmla="*/ 661967 h 3835942"/>
                <a:gd name="connsiteX35" fmla="*/ 1282159 w 4510936"/>
                <a:gd name="connsiteY35" fmla="*/ 251645 h 3835942"/>
                <a:gd name="connsiteX36" fmla="*/ 1417556 w 4510936"/>
                <a:gd name="connsiteY36" fmla="*/ 265294 h 3835942"/>
                <a:gd name="connsiteX37" fmla="*/ 1421411 w 4510936"/>
                <a:gd name="connsiteY37" fmla="*/ 266491 h 3835942"/>
                <a:gd name="connsiteX38" fmla="*/ 1478933 w 4510936"/>
                <a:gd name="connsiteY38" fmla="*/ 196773 h 3835942"/>
                <a:gd name="connsiteX39" fmla="*/ 1953986 w 4510936"/>
                <a:gd name="connsiteY3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556657 w 4510936"/>
                <a:gd name="connsiteY18" fmla="*/ 2852599 h 3835942"/>
                <a:gd name="connsiteX19" fmla="*/ 1580115 w 4510936"/>
                <a:gd name="connsiteY19" fmla="*/ 3729193 h 3835942"/>
                <a:gd name="connsiteX20" fmla="*/ 1581642 w 4510936"/>
                <a:gd name="connsiteY20" fmla="*/ 3835942 h 3835942"/>
                <a:gd name="connsiteX21" fmla="*/ 1113971 w 4510936"/>
                <a:gd name="connsiteY21" fmla="*/ 3835942 h 3835942"/>
                <a:gd name="connsiteX22" fmla="*/ 836413 w 4510936"/>
                <a:gd name="connsiteY22" fmla="*/ 3086585 h 3835942"/>
                <a:gd name="connsiteX23" fmla="*/ 116170 w 4510936"/>
                <a:gd name="connsiteY23" fmla="*/ 2308285 h 3835942"/>
                <a:gd name="connsiteX24" fmla="*/ 118297 w 4510936"/>
                <a:gd name="connsiteY24" fmla="*/ 2287181 h 3835942"/>
                <a:gd name="connsiteX25" fmla="*/ 98842 w 4510936"/>
                <a:gd name="connsiteY25" fmla="*/ 2263602 h 3835942"/>
                <a:gd name="connsiteX26" fmla="*/ 0 w 4510936"/>
                <a:gd name="connsiteY26" fmla="*/ 1940013 h 3835942"/>
                <a:gd name="connsiteX27" fmla="*/ 98842 w 4510936"/>
                <a:gd name="connsiteY27" fmla="*/ 1616424 h 3835942"/>
                <a:gd name="connsiteX28" fmla="*/ 158494 w 4510936"/>
                <a:gd name="connsiteY28" fmla="*/ 1544125 h 3835942"/>
                <a:gd name="connsiteX29" fmla="*/ 138294 w 4510936"/>
                <a:gd name="connsiteY29" fmla="*/ 1479051 h 3835942"/>
                <a:gd name="connsiteX30" fmla="*/ 124645 w 4510936"/>
                <a:gd name="connsiteY30" fmla="*/ 1343654 h 3835942"/>
                <a:gd name="connsiteX31" fmla="*/ 534966 w 4510936"/>
                <a:gd name="connsiteY31" fmla="*/ 724623 h 3835942"/>
                <a:gd name="connsiteX32" fmla="*/ 655270 w 4510936"/>
                <a:gd name="connsiteY32" fmla="*/ 687278 h 3835942"/>
                <a:gd name="connsiteX33" fmla="*/ 663127 w 4510936"/>
                <a:gd name="connsiteY33" fmla="*/ 661967 h 3835942"/>
                <a:gd name="connsiteX34" fmla="*/ 1282159 w 4510936"/>
                <a:gd name="connsiteY34" fmla="*/ 251645 h 3835942"/>
                <a:gd name="connsiteX35" fmla="*/ 1417556 w 4510936"/>
                <a:gd name="connsiteY35" fmla="*/ 265294 h 3835942"/>
                <a:gd name="connsiteX36" fmla="*/ 1421411 w 4510936"/>
                <a:gd name="connsiteY36" fmla="*/ 266491 h 3835942"/>
                <a:gd name="connsiteX37" fmla="*/ 1478933 w 4510936"/>
                <a:gd name="connsiteY37" fmla="*/ 196773 h 3835942"/>
                <a:gd name="connsiteX38" fmla="*/ 1953986 w 4510936"/>
                <a:gd name="connsiteY3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0115 w 4510936"/>
                <a:gd name="connsiteY18" fmla="*/ 3729193 h 3835942"/>
                <a:gd name="connsiteX19" fmla="*/ 1581642 w 4510936"/>
                <a:gd name="connsiteY19" fmla="*/ 3835942 h 3835942"/>
                <a:gd name="connsiteX20" fmla="*/ 1113971 w 4510936"/>
                <a:gd name="connsiteY20" fmla="*/ 3835942 h 3835942"/>
                <a:gd name="connsiteX21" fmla="*/ 836413 w 4510936"/>
                <a:gd name="connsiteY21" fmla="*/ 3086585 h 3835942"/>
                <a:gd name="connsiteX22" fmla="*/ 116170 w 4510936"/>
                <a:gd name="connsiteY22" fmla="*/ 2308285 h 3835942"/>
                <a:gd name="connsiteX23" fmla="*/ 118297 w 4510936"/>
                <a:gd name="connsiteY23" fmla="*/ 2287181 h 3835942"/>
                <a:gd name="connsiteX24" fmla="*/ 98842 w 4510936"/>
                <a:gd name="connsiteY24" fmla="*/ 2263602 h 3835942"/>
                <a:gd name="connsiteX25" fmla="*/ 0 w 4510936"/>
                <a:gd name="connsiteY25" fmla="*/ 1940013 h 3835942"/>
                <a:gd name="connsiteX26" fmla="*/ 98842 w 4510936"/>
                <a:gd name="connsiteY26" fmla="*/ 1616424 h 3835942"/>
                <a:gd name="connsiteX27" fmla="*/ 158494 w 4510936"/>
                <a:gd name="connsiteY27" fmla="*/ 1544125 h 3835942"/>
                <a:gd name="connsiteX28" fmla="*/ 138294 w 4510936"/>
                <a:gd name="connsiteY28" fmla="*/ 1479051 h 3835942"/>
                <a:gd name="connsiteX29" fmla="*/ 124645 w 4510936"/>
                <a:gd name="connsiteY29" fmla="*/ 1343654 h 3835942"/>
                <a:gd name="connsiteX30" fmla="*/ 534966 w 4510936"/>
                <a:gd name="connsiteY30" fmla="*/ 724623 h 3835942"/>
                <a:gd name="connsiteX31" fmla="*/ 655270 w 4510936"/>
                <a:gd name="connsiteY31" fmla="*/ 687278 h 3835942"/>
                <a:gd name="connsiteX32" fmla="*/ 663127 w 4510936"/>
                <a:gd name="connsiteY32" fmla="*/ 661967 h 3835942"/>
                <a:gd name="connsiteX33" fmla="*/ 1282159 w 4510936"/>
                <a:gd name="connsiteY33" fmla="*/ 251645 h 3835942"/>
                <a:gd name="connsiteX34" fmla="*/ 1417556 w 4510936"/>
                <a:gd name="connsiteY34" fmla="*/ 265294 h 3835942"/>
                <a:gd name="connsiteX35" fmla="*/ 1421411 w 4510936"/>
                <a:gd name="connsiteY35" fmla="*/ 266491 h 3835942"/>
                <a:gd name="connsiteX36" fmla="*/ 1478933 w 4510936"/>
                <a:gd name="connsiteY36" fmla="*/ 196773 h 3835942"/>
                <a:gd name="connsiteX37" fmla="*/ 1953986 w 4510936"/>
                <a:gd name="connsiteY3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1642 w 4510936"/>
                <a:gd name="connsiteY18" fmla="*/ 3835942 h 3835942"/>
                <a:gd name="connsiteX19" fmla="*/ 1113971 w 4510936"/>
                <a:gd name="connsiteY19" fmla="*/ 3835942 h 3835942"/>
                <a:gd name="connsiteX20" fmla="*/ 836413 w 4510936"/>
                <a:gd name="connsiteY20" fmla="*/ 3086585 h 3835942"/>
                <a:gd name="connsiteX21" fmla="*/ 116170 w 4510936"/>
                <a:gd name="connsiteY21" fmla="*/ 2308285 h 3835942"/>
                <a:gd name="connsiteX22" fmla="*/ 118297 w 4510936"/>
                <a:gd name="connsiteY22" fmla="*/ 2287181 h 3835942"/>
                <a:gd name="connsiteX23" fmla="*/ 98842 w 4510936"/>
                <a:gd name="connsiteY23" fmla="*/ 2263602 h 3835942"/>
                <a:gd name="connsiteX24" fmla="*/ 0 w 4510936"/>
                <a:gd name="connsiteY24" fmla="*/ 1940013 h 3835942"/>
                <a:gd name="connsiteX25" fmla="*/ 98842 w 4510936"/>
                <a:gd name="connsiteY25" fmla="*/ 1616424 h 3835942"/>
                <a:gd name="connsiteX26" fmla="*/ 158494 w 4510936"/>
                <a:gd name="connsiteY26" fmla="*/ 1544125 h 3835942"/>
                <a:gd name="connsiteX27" fmla="*/ 138294 w 4510936"/>
                <a:gd name="connsiteY27" fmla="*/ 1479051 h 3835942"/>
                <a:gd name="connsiteX28" fmla="*/ 124645 w 4510936"/>
                <a:gd name="connsiteY28" fmla="*/ 1343654 h 3835942"/>
                <a:gd name="connsiteX29" fmla="*/ 534966 w 4510936"/>
                <a:gd name="connsiteY29" fmla="*/ 724623 h 3835942"/>
                <a:gd name="connsiteX30" fmla="*/ 655270 w 4510936"/>
                <a:gd name="connsiteY30" fmla="*/ 687278 h 3835942"/>
                <a:gd name="connsiteX31" fmla="*/ 663127 w 4510936"/>
                <a:gd name="connsiteY31" fmla="*/ 661967 h 3835942"/>
                <a:gd name="connsiteX32" fmla="*/ 1282159 w 4510936"/>
                <a:gd name="connsiteY32" fmla="*/ 251645 h 3835942"/>
                <a:gd name="connsiteX33" fmla="*/ 1417556 w 4510936"/>
                <a:gd name="connsiteY33" fmla="*/ 265294 h 3835942"/>
                <a:gd name="connsiteX34" fmla="*/ 1421411 w 4510936"/>
                <a:gd name="connsiteY34" fmla="*/ 266491 h 3835942"/>
                <a:gd name="connsiteX35" fmla="*/ 1478933 w 4510936"/>
                <a:gd name="connsiteY35" fmla="*/ 196773 h 3835942"/>
                <a:gd name="connsiteX36" fmla="*/ 1953986 w 4510936"/>
                <a:gd name="connsiteY3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81642 w 4510936"/>
                <a:gd name="connsiteY17" fmla="*/ 3835942 h 3835942"/>
                <a:gd name="connsiteX18" fmla="*/ 1113971 w 4510936"/>
                <a:gd name="connsiteY18" fmla="*/ 3835942 h 3835942"/>
                <a:gd name="connsiteX19" fmla="*/ 836413 w 4510936"/>
                <a:gd name="connsiteY19" fmla="*/ 3086585 h 3835942"/>
                <a:gd name="connsiteX20" fmla="*/ 116170 w 4510936"/>
                <a:gd name="connsiteY20" fmla="*/ 2308285 h 3835942"/>
                <a:gd name="connsiteX21" fmla="*/ 118297 w 4510936"/>
                <a:gd name="connsiteY21" fmla="*/ 2287181 h 3835942"/>
                <a:gd name="connsiteX22" fmla="*/ 98842 w 4510936"/>
                <a:gd name="connsiteY22" fmla="*/ 2263602 h 3835942"/>
                <a:gd name="connsiteX23" fmla="*/ 0 w 4510936"/>
                <a:gd name="connsiteY23" fmla="*/ 1940013 h 3835942"/>
                <a:gd name="connsiteX24" fmla="*/ 98842 w 4510936"/>
                <a:gd name="connsiteY24" fmla="*/ 1616424 h 3835942"/>
                <a:gd name="connsiteX25" fmla="*/ 158494 w 4510936"/>
                <a:gd name="connsiteY25" fmla="*/ 1544125 h 3835942"/>
                <a:gd name="connsiteX26" fmla="*/ 138294 w 4510936"/>
                <a:gd name="connsiteY26" fmla="*/ 1479051 h 3835942"/>
                <a:gd name="connsiteX27" fmla="*/ 124645 w 4510936"/>
                <a:gd name="connsiteY27" fmla="*/ 1343654 h 3835942"/>
                <a:gd name="connsiteX28" fmla="*/ 534966 w 4510936"/>
                <a:gd name="connsiteY28" fmla="*/ 724623 h 3835942"/>
                <a:gd name="connsiteX29" fmla="*/ 655270 w 4510936"/>
                <a:gd name="connsiteY29" fmla="*/ 687278 h 3835942"/>
                <a:gd name="connsiteX30" fmla="*/ 663127 w 4510936"/>
                <a:gd name="connsiteY30" fmla="*/ 661967 h 3835942"/>
                <a:gd name="connsiteX31" fmla="*/ 1282159 w 4510936"/>
                <a:gd name="connsiteY31" fmla="*/ 251645 h 3835942"/>
                <a:gd name="connsiteX32" fmla="*/ 1417556 w 4510936"/>
                <a:gd name="connsiteY32" fmla="*/ 265294 h 3835942"/>
                <a:gd name="connsiteX33" fmla="*/ 1421411 w 4510936"/>
                <a:gd name="connsiteY33" fmla="*/ 266491 h 3835942"/>
                <a:gd name="connsiteX34" fmla="*/ 1478933 w 4510936"/>
                <a:gd name="connsiteY34" fmla="*/ 196773 h 3835942"/>
                <a:gd name="connsiteX35" fmla="*/ 1953986 w 4510936"/>
                <a:gd name="connsiteY35" fmla="*/ 0 h 3835942"/>
                <a:gd name="connsiteX0" fmla="*/ 1581642 w 4510936"/>
                <a:gd name="connsiteY0" fmla="*/ 3835942 h 4045762"/>
                <a:gd name="connsiteX1" fmla="*/ 1113971 w 4510936"/>
                <a:gd name="connsiteY1" fmla="*/ 3835942 h 4045762"/>
                <a:gd name="connsiteX2" fmla="*/ 836413 w 4510936"/>
                <a:gd name="connsiteY2" fmla="*/ 3086585 h 4045762"/>
                <a:gd name="connsiteX3" fmla="*/ 116170 w 4510936"/>
                <a:gd name="connsiteY3" fmla="*/ 2308285 h 4045762"/>
                <a:gd name="connsiteX4" fmla="*/ 118297 w 4510936"/>
                <a:gd name="connsiteY4" fmla="*/ 2287181 h 4045762"/>
                <a:gd name="connsiteX5" fmla="*/ 98842 w 4510936"/>
                <a:gd name="connsiteY5" fmla="*/ 2263602 h 4045762"/>
                <a:gd name="connsiteX6" fmla="*/ 0 w 4510936"/>
                <a:gd name="connsiteY6" fmla="*/ 1940013 h 4045762"/>
                <a:gd name="connsiteX7" fmla="*/ 98842 w 4510936"/>
                <a:gd name="connsiteY7" fmla="*/ 1616424 h 4045762"/>
                <a:gd name="connsiteX8" fmla="*/ 158494 w 4510936"/>
                <a:gd name="connsiteY8" fmla="*/ 1544125 h 4045762"/>
                <a:gd name="connsiteX9" fmla="*/ 138294 w 4510936"/>
                <a:gd name="connsiteY9" fmla="*/ 1479051 h 4045762"/>
                <a:gd name="connsiteX10" fmla="*/ 124645 w 4510936"/>
                <a:gd name="connsiteY10" fmla="*/ 1343654 h 4045762"/>
                <a:gd name="connsiteX11" fmla="*/ 534966 w 4510936"/>
                <a:gd name="connsiteY11" fmla="*/ 724623 h 4045762"/>
                <a:gd name="connsiteX12" fmla="*/ 655270 w 4510936"/>
                <a:gd name="connsiteY12" fmla="*/ 687278 h 4045762"/>
                <a:gd name="connsiteX13" fmla="*/ 663127 w 4510936"/>
                <a:gd name="connsiteY13" fmla="*/ 661967 h 4045762"/>
                <a:gd name="connsiteX14" fmla="*/ 1282159 w 4510936"/>
                <a:gd name="connsiteY14" fmla="*/ 251645 h 4045762"/>
                <a:gd name="connsiteX15" fmla="*/ 1417556 w 4510936"/>
                <a:gd name="connsiteY15" fmla="*/ 265294 h 4045762"/>
                <a:gd name="connsiteX16" fmla="*/ 1421411 w 4510936"/>
                <a:gd name="connsiteY16" fmla="*/ 266491 h 4045762"/>
                <a:gd name="connsiteX17" fmla="*/ 1478933 w 4510936"/>
                <a:gd name="connsiteY17" fmla="*/ 196773 h 4045762"/>
                <a:gd name="connsiteX18" fmla="*/ 1953986 w 4510936"/>
                <a:gd name="connsiteY18" fmla="*/ 0 h 4045762"/>
                <a:gd name="connsiteX19" fmla="*/ 2329611 w 4510936"/>
                <a:gd name="connsiteY19" fmla="*/ 114738 h 4045762"/>
                <a:gd name="connsiteX20" fmla="*/ 2418153 w 4510936"/>
                <a:gd name="connsiteY20" fmla="*/ 187791 h 4045762"/>
                <a:gd name="connsiteX21" fmla="*/ 2436328 w 4510936"/>
                <a:gd name="connsiteY21" fmla="*/ 172795 h 4045762"/>
                <a:gd name="connsiteX22" fmla="*/ 2811953 w 4510936"/>
                <a:gd name="connsiteY22" fmla="*/ 58057 h 4045762"/>
                <a:gd name="connsiteX23" fmla="*/ 3430985 w 4510936"/>
                <a:gd name="connsiteY23" fmla="*/ 468379 h 4045762"/>
                <a:gd name="connsiteX24" fmla="*/ 3439052 w 4510936"/>
                <a:gd name="connsiteY24" fmla="*/ 494366 h 4045762"/>
                <a:gd name="connsiteX25" fmla="*/ 3483780 w 4510936"/>
                <a:gd name="connsiteY25" fmla="*/ 489857 h 4045762"/>
                <a:gd name="connsiteX26" fmla="*/ 4155607 w 4510936"/>
                <a:gd name="connsiteY26" fmla="*/ 1161684 h 4045762"/>
                <a:gd name="connsiteX27" fmla="*/ 4153309 w 4510936"/>
                <a:gd name="connsiteY27" fmla="*/ 1184483 h 4045762"/>
                <a:gd name="connsiteX28" fmla="*/ 4214734 w 4510936"/>
                <a:gd name="connsiteY28" fmla="*/ 1217823 h 4045762"/>
                <a:gd name="connsiteX29" fmla="*/ 4510936 w 4510936"/>
                <a:gd name="connsiteY29" fmla="*/ 1774913 h 4045762"/>
                <a:gd name="connsiteX30" fmla="*/ 3839109 w 4510936"/>
                <a:gd name="connsiteY30" fmla="*/ 2446740 h 4045762"/>
                <a:gd name="connsiteX31" fmla="*/ 2763472 w 4510936"/>
                <a:gd name="connsiteY31" fmla="*/ 2548740 h 4045762"/>
                <a:gd name="connsiteX32" fmla="*/ 2130180 w 4510936"/>
                <a:gd name="connsiteY32" fmla="*/ 2990785 h 4045762"/>
                <a:gd name="connsiteX33" fmla="*/ 2009850 w 4510936"/>
                <a:gd name="connsiteY33" fmla="*/ 3835942 h 4045762"/>
                <a:gd name="connsiteX34" fmla="*/ 1789458 w 4510936"/>
                <a:gd name="connsiteY34" fmla="*/ 3835942 h 4045762"/>
                <a:gd name="connsiteX35" fmla="*/ 1791461 w 4510936"/>
                <a:gd name="connsiteY35" fmla="*/ 4045762 h 404576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34" fmla="*/ 1789458 w 4510936"/>
                <a:gd name="connsiteY34" fmla="*/ 3835942 h 383594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10936" h="3835942">
                  <a:moveTo>
                    <a:pt x="1113971" y="3835942"/>
                  </a:moveTo>
                  <a:cubicBezTo>
                    <a:pt x="1117004" y="3353928"/>
                    <a:pt x="1047465" y="3115028"/>
                    <a:pt x="836413" y="3086585"/>
                  </a:cubicBezTo>
                  <a:cubicBezTo>
                    <a:pt x="446170" y="3033993"/>
                    <a:pt x="116170" y="2702056"/>
                    <a:pt x="116170" y="2308285"/>
                  </a:cubicBezTo>
                  <a:lnTo>
                    <a:pt x="118297" y="2287181"/>
                  </a:lnTo>
                  <a:lnTo>
                    <a:pt x="98842" y="2263602"/>
                  </a:lnTo>
                  <a:cubicBezTo>
                    <a:pt x="36438" y="2171232"/>
                    <a:pt x="0" y="2059878"/>
                    <a:pt x="0" y="1940013"/>
                  </a:cubicBezTo>
                  <a:cubicBezTo>
                    <a:pt x="0" y="1820148"/>
                    <a:pt x="36438" y="1708794"/>
                    <a:pt x="98842" y="1616424"/>
                  </a:cubicBezTo>
                  <a:lnTo>
                    <a:pt x="158494" y="1544125"/>
                  </a:lnTo>
                  <a:lnTo>
                    <a:pt x="138294" y="1479051"/>
                  </a:lnTo>
                  <a:cubicBezTo>
                    <a:pt x="129345" y="1435316"/>
                    <a:pt x="124645" y="1390034"/>
                    <a:pt x="124645" y="1343654"/>
                  </a:cubicBezTo>
                  <a:cubicBezTo>
                    <a:pt x="124645" y="1065374"/>
                    <a:pt x="293838" y="826611"/>
                    <a:pt x="534966" y="724623"/>
                  </a:cubicBezTo>
                  <a:lnTo>
                    <a:pt x="655270" y="687278"/>
                  </a:lnTo>
                  <a:lnTo>
                    <a:pt x="663127" y="661967"/>
                  </a:lnTo>
                  <a:cubicBezTo>
                    <a:pt x="765116" y="420838"/>
                    <a:pt x="1003879" y="251645"/>
                    <a:pt x="1282159" y="251645"/>
                  </a:cubicBezTo>
                  <a:cubicBezTo>
                    <a:pt x="1328539" y="251645"/>
                    <a:pt x="1373822" y="256345"/>
                    <a:pt x="1417556" y="265294"/>
                  </a:cubicBezTo>
                  <a:lnTo>
                    <a:pt x="1421411" y="266491"/>
                  </a:lnTo>
                  <a:lnTo>
                    <a:pt x="1478933" y="196773"/>
                  </a:lnTo>
                  <a:cubicBezTo>
                    <a:pt x="1600510" y="75197"/>
                    <a:pt x="1768466" y="0"/>
                    <a:pt x="1953986" y="0"/>
                  </a:cubicBezTo>
                  <a:cubicBezTo>
                    <a:pt x="2093126" y="0"/>
                    <a:pt x="2222387" y="42298"/>
                    <a:pt x="2329611" y="114738"/>
                  </a:cubicBezTo>
                  <a:lnTo>
                    <a:pt x="2418153" y="187791"/>
                  </a:lnTo>
                  <a:lnTo>
                    <a:pt x="2436328" y="172795"/>
                  </a:lnTo>
                  <a:cubicBezTo>
                    <a:pt x="2543553" y="100355"/>
                    <a:pt x="2672813" y="58057"/>
                    <a:pt x="2811953" y="58057"/>
                  </a:cubicBezTo>
                  <a:cubicBezTo>
                    <a:pt x="3090233" y="58057"/>
                    <a:pt x="3328996" y="227250"/>
                    <a:pt x="3430985" y="468379"/>
                  </a:cubicBezTo>
                  <a:lnTo>
                    <a:pt x="3439052" y="494366"/>
                  </a:lnTo>
                  <a:lnTo>
                    <a:pt x="3483780" y="489857"/>
                  </a:lnTo>
                  <a:cubicBezTo>
                    <a:pt x="3854820" y="489857"/>
                    <a:pt x="4155607" y="790644"/>
                    <a:pt x="4155607" y="1161684"/>
                  </a:cubicBezTo>
                  <a:lnTo>
                    <a:pt x="4153309" y="1184483"/>
                  </a:lnTo>
                  <a:lnTo>
                    <a:pt x="4214734" y="1217823"/>
                  </a:lnTo>
                  <a:cubicBezTo>
                    <a:pt x="4393441" y="1338556"/>
                    <a:pt x="4510936" y="1543013"/>
                    <a:pt x="4510936" y="1774913"/>
                  </a:cubicBezTo>
                  <a:cubicBezTo>
                    <a:pt x="4510936" y="2145953"/>
                    <a:pt x="4124085" y="2449471"/>
                    <a:pt x="3839109" y="2446740"/>
                  </a:cubicBezTo>
                  <a:cubicBezTo>
                    <a:pt x="3585495" y="2638428"/>
                    <a:pt x="3061074" y="2617143"/>
                    <a:pt x="2763472" y="2548740"/>
                  </a:cubicBezTo>
                  <a:cubicBezTo>
                    <a:pt x="2701568" y="2771878"/>
                    <a:pt x="2355083" y="3064742"/>
                    <a:pt x="2130180" y="2990785"/>
                  </a:cubicBezTo>
                  <a:cubicBezTo>
                    <a:pt x="2055794" y="3192776"/>
                    <a:pt x="1994823" y="3676349"/>
                    <a:pt x="2009850" y="3835942"/>
                  </a:cubicBezTo>
                </a:path>
              </a:pathLst>
            </a:custGeom>
            <a:noFill/>
            <a:ln w="190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5"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9" name="Group 38">
              <a:extLst>
                <a:ext uri="{FF2B5EF4-FFF2-40B4-BE49-F238E27FC236}">
                  <a16:creationId xmlns:a16="http://schemas.microsoft.com/office/drawing/2014/main" id="{374E97AB-8CE5-42B1-954A-FB64BED730FF}"/>
                </a:ext>
              </a:extLst>
            </p:cNvPr>
            <p:cNvGrpSpPr/>
            <p:nvPr/>
          </p:nvGrpSpPr>
          <p:grpSpPr>
            <a:xfrm>
              <a:off x="3558863" y="3838170"/>
              <a:ext cx="2873016" cy="2905512"/>
              <a:chOff x="3440120" y="3859753"/>
              <a:chExt cx="2873016" cy="2905512"/>
            </a:xfrm>
          </p:grpSpPr>
          <p:sp>
            <p:nvSpPr>
              <p:cNvPr id="41" name="Freeform: Shape 40">
                <a:extLst>
                  <a:ext uri="{FF2B5EF4-FFF2-40B4-BE49-F238E27FC236}">
                    <a16:creationId xmlns:a16="http://schemas.microsoft.com/office/drawing/2014/main" id="{34E2612B-F78C-44DB-8124-514402A903B5}"/>
                  </a:ext>
                </a:extLst>
              </p:cNvPr>
              <p:cNvSpPr/>
              <p:nvPr/>
            </p:nvSpPr>
            <p:spPr bwMode="auto">
              <a:xfrm>
                <a:off x="3729167" y="3859753"/>
                <a:ext cx="1024256" cy="2905512"/>
              </a:xfrm>
              <a:custGeom>
                <a:avLst/>
                <a:gdLst>
                  <a:gd name="connsiteX0" fmla="*/ 343153 w 511882"/>
                  <a:gd name="connsiteY0" fmla="*/ 1460046 h 1460046"/>
                  <a:gd name="connsiteX1" fmla="*/ 334989 w 511882"/>
                  <a:gd name="connsiteY1" fmla="*/ 1013732 h 1460046"/>
                  <a:gd name="connsiteX2" fmla="*/ 253 w 511882"/>
                  <a:gd name="connsiteY2" fmla="*/ 511628 h 1460046"/>
                  <a:gd name="connsiteX3" fmla="*/ 394861 w 511882"/>
                  <a:gd name="connsiteY3" fmla="*/ 198664 h 1460046"/>
                  <a:gd name="connsiteX4" fmla="*/ 511882 w 511882"/>
                  <a:gd name="connsiteY4" fmla="*/ 0 h 1460046"/>
                  <a:gd name="connsiteX0" fmla="*/ 343139 w 511868"/>
                  <a:gd name="connsiteY0" fmla="*/ 1460046 h 1460046"/>
                  <a:gd name="connsiteX1" fmla="*/ 334975 w 511868"/>
                  <a:gd name="connsiteY1" fmla="*/ 1013732 h 1460046"/>
                  <a:gd name="connsiteX2" fmla="*/ 239 w 511868"/>
                  <a:gd name="connsiteY2" fmla="*/ 511628 h 1460046"/>
                  <a:gd name="connsiteX3" fmla="*/ 394847 w 511868"/>
                  <a:gd name="connsiteY3" fmla="*/ 198664 h 1460046"/>
                  <a:gd name="connsiteX4" fmla="*/ 511868 w 511868"/>
                  <a:gd name="connsiteY4" fmla="*/ 0 h 1460046"/>
                  <a:gd name="connsiteX0" fmla="*/ 346813 w 515542"/>
                  <a:gd name="connsiteY0" fmla="*/ 1460046 h 1460046"/>
                  <a:gd name="connsiteX1" fmla="*/ 338649 w 515542"/>
                  <a:gd name="connsiteY1" fmla="*/ 1013732 h 1460046"/>
                  <a:gd name="connsiteX2" fmla="*/ 3913 w 515542"/>
                  <a:gd name="connsiteY2" fmla="*/ 511628 h 1460046"/>
                  <a:gd name="connsiteX3" fmla="*/ 398521 w 515542"/>
                  <a:gd name="connsiteY3" fmla="*/ 198664 h 1460046"/>
                  <a:gd name="connsiteX4" fmla="*/ 515542 w 515542"/>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698" h="1460046">
                    <a:moveTo>
                      <a:pt x="345969" y="1460046"/>
                    </a:moveTo>
                    <a:cubicBezTo>
                      <a:pt x="343247" y="1279185"/>
                      <a:pt x="359576" y="1110571"/>
                      <a:pt x="337805" y="1013732"/>
                    </a:cubicBezTo>
                    <a:cubicBezTo>
                      <a:pt x="301287" y="851299"/>
                      <a:pt x="-35485" y="768576"/>
                      <a:pt x="3069" y="511628"/>
                    </a:cubicBezTo>
                    <a:cubicBezTo>
                      <a:pt x="41623" y="254680"/>
                      <a:pt x="312406" y="245835"/>
                      <a:pt x="397677" y="198664"/>
                    </a:cubicBezTo>
                    <a:cubicBezTo>
                      <a:pt x="482948" y="151493"/>
                      <a:pt x="507712" y="62166"/>
                      <a:pt x="514698"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59" name="Freeform: Shape 58">
                <a:extLst>
                  <a:ext uri="{FF2B5EF4-FFF2-40B4-BE49-F238E27FC236}">
                    <a16:creationId xmlns:a16="http://schemas.microsoft.com/office/drawing/2014/main" id="{B61F3643-FCE5-4A5C-B3C3-4A40288505E5}"/>
                  </a:ext>
                </a:extLst>
              </p:cNvPr>
              <p:cNvSpPr/>
              <p:nvPr/>
            </p:nvSpPr>
            <p:spPr bwMode="auto">
              <a:xfrm>
                <a:off x="4475931" y="4041179"/>
                <a:ext cx="1233358" cy="351610"/>
              </a:xfrm>
              <a:custGeom>
                <a:avLst/>
                <a:gdLst>
                  <a:gd name="connsiteX0" fmla="*/ 640896 w 640896"/>
                  <a:gd name="connsiteY0" fmla="*/ 0 h 180184"/>
                  <a:gd name="connsiteX1" fmla="*/ 336096 w 640896"/>
                  <a:gd name="connsiteY1" fmla="*/ 176892 h 180184"/>
                  <a:gd name="connsiteX2" fmla="*/ 0 w 640896"/>
                  <a:gd name="connsiteY2" fmla="*/ 122464 h 180184"/>
                  <a:gd name="connsiteX0" fmla="*/ 640896 w 640896"/>
                  <a:gd name="connsiteY0" fmla="*/ 0 h 181666"/>
                  <a:gd name="connsiteX1" fmla="*/ 336096 w 640896"/>
                  <a:gd name="connsiteY1" fmla="*/ 176892 h 181666"/>
                  <a:gd name="connsiteX2" fmla="*/ 0 w 640896"/>
                  <a:gd name="connsiteY2" fmla="*/ 122464 h 181666"/>
                  <a:gd name="connsiteX0" fmla="*/ 640896 w 640896"/>
                  <a:gd name="connsiteY0" fmla="*/ 0 h 122464"/>
                  <a:gd name="connsiteX1" fmla="*/ 0 w 640896"/>
                  <a:gd name="connsiteY1" fmla="*/ 122464 h 122464"/>
                  <a:gd name="connsiteX0" fmla="*/ 640896 w 640896"/>
                  <a:gd name="connsiteY0" fmla="*/ 0 h 150251"/>
                  <a:gd name="connsiteX1" fmla="*/ 0 w 640896"/>
                  <a:gd name="connsiteY1" fmla="*/ 122464 h 150251"/>
                  <a:gd name="connsiteX0" fmla="*/ 640896 w 640896"/>
                  <a:gd name="connsiteY0" fmla="*/ 0 h 179415"/>
                  <a:gd name="connsiteX1" fmla="*/ 0 w 640896"/>
                  <a:gd name="connsiteY1" fmla="*/ 122464 h 179415"/>
                  <a:gd name="connsiteX0" fmla="*/ 625928 w 625928"/>
                  <a:gd name="connsiteY0" fmla="*/ 0 h 176687"/>
                  <a:gd name="connsiteX1" fmla="*/ 0 w 625928"/>
                  <a:gd name="connsiteY1" fmla="*/ 118381 h 176687"/>
                  <a:gd name="connsiteX0" fmla="*/ 619774 w 619774"/>
                  <a:gd name="connsiteY0" fmla="*/ 0 h 176687"/>
                  <a:gd name="connsiteX1" fmla="*/ 0 w 619774"/>
                  <a:gd name="connsiteY1" fmla="*/ 118381 h 176687"/>
                </a:gdLst>
                <a:ahLst/>
                <a:cxnLst>
                  <a:cxn ang="0">
                    <a:pos x="connsiteX0" y="connsiteY0"/>
                  </a:cxn>
                  <a:cxn ang="0">
                    <a:pos x="connsiteX1" y="connsiteY1"/>
                  </a:cxn>
                </a:cxnLst>
                <a:rect l="l" t="t" r="r" b="b"/>
                <a:pathLst>
                  <a:path w="619774" h="176687">
                    <a:moveTo>
                      <a:pt x="619774" y="0"/>
                    </a:moveTo>
                    <a:cubicBezTo>
                      <a:pt x="554460" y="204107"/>
                      <a:pt x="205468" y="213631"/>
                      <a:pt x="0" y="118381"/>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0" name="Freeform: Shape 59">
                <a:extLst>
                  <a:ext uri="{FF2B5EF4-FFF2-40B4-BE49-F238E27FC236}">
                    <a16:creationId xmlns:a16="http://schemas.microsoft.com/office/drawing/2014/main" id="{2074C738-0D0C-4D7A-88A3-99BBF717620F}"/>
                  </a:ext>
                </a:extLst>
              </p:cNvPr>
              <p:cNvSpPr/>
              <p:nvPr/>
            </p:nvSpPr>
            <p:spPr bwMode="auto">
              <a:xfrm>
                <a:off x="3903160" y="4041179"/>
                <a:ext cx="285801" cy="322233"/>
              </a:xfrm>
              <a:custGeom>
                <a:avLst/>
                <a:gdLst>
                  <a:gd name="connsiteX0" fmla="*/ 0 w 136071"/>
                  <a:gd name="connsiteY0" fmla="*/ 0 h 171450"/>
                  <a:gd name="connsiteX1" fmla="*/ 108857 w 136071"/>
                  <a:gd name="connsiteY1" fmla="*/ 76200 h 171450"/>
                  <a:gd name="connsiteX2" fmla="*/ 136071 w 136071"/>
                  <a:gd name="connsiteY2"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Lst>
                <a:ahLst/>
                <a:cxnLst>
                  <a:cxn ang="0">
                    <a:pos x="connsiteX0" y="connsiteY0"/>
                  </a:cxn>
                  <a:cxn ang="0">
                    <a:pos x="connsiteX1" y="connsiteY1"/>
                  </a:cxn>
                </a:cxnLst>
                <a:rect l="l" t="t" r="r" b="b"/>
                <a:pathLst>
                  <a:path w="136071" h="171450">
                    <a:moveTo>
                      <a:pt x="0" y="0"/>
                    </a:moveTo>
                    <a:cubicBezTo>
                      <a:pt x="90058" y="31810"/>
                      <a:pt x="113388" y="112852"/>
                      <a:pt x="136071" y="17145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1" name="Freeform: Shape 60">
                <a:extLst>
                  <a:ext uri="{FF2B5EF4-FFF2-40B4-BE49-F238E27FC236}">
                    <a16:creationId xmlns:a16="http://schemas.microsoft.com/office/drawing/2014/main" id="{1C45D4F0-E26F-4AB1-B273-DDFB3973377B}"/>
                  </a:ext>
                </a:extLst>
              </p:cNvPr>
              <p:cNvSpPr/>
              <p:nvPr/>
            </p:nvSpPr>
            <p:spPr bwMode="auto">
              <a:xfrm>
                <a:off x="3440120" y="4482556"/>
                <a:ext cx="289738" cy="446794"/>
              </a:xfrm>
              <a:custGeom>
                <a:avLst/>
                <a:gdLst>
                  <a:gd name="connsiteX0" fmla="*/ 0 w 145596"/>
                  <a:gd name="connsiteY0" fmla="*/ 0 h 230238"/>
                  <a:gd name="connsiteX1" fmla="*/ 85725 w 145596"/>
                  <a:gd name="connsiteY1" fmla="*/ 201386 h 230238"/>
                  <a:gd name="connsiteX2" fmla="*/ 145596 w 145596"/>
                  <a:gd name="connsiteY2" fmla="*/ 224518 h 23023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Lst>
                <a:ahLst/>
                <a:cxnLst>
                  <a:cxn ang="0">
                    <a:pos x="connsiteX0" y="connsiteY0"/>
                  </a:cxn>
                  <a:cxn ang="0">
                    <a:pos x="connsiteX1" y="connsiteY1"/>
                  </a:cxn>
                </a:cxnLst>
                <a:rect l="l" t="t" r="r" b="b"/>
                <a:pathLst>
                  <a:path w="145596" h="224518">
                    <a:moveTo>
                      <a:pt x="0" y="0"/>
                    </a:moveTo>
                    <a:cubicBezTo>
                      <a:pt x="12976" y="98771"/>
                      <a:pt x="56722" y="206432"/>
                      <a:pt x="145596" y="224518"/>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2" name="Freeform: Shape 61">
                <a:extLst>
                  <a:ext uri="{FF2B5EF4-FFF2-40B4-BE49-F238E27FC236}">
                    <a16:creationId xmlns:a16="http://schemas.microsoft.com/office/drawing/2014/main" id="{1EA3111D-823E-4A2E-A1E3-8A398BD7BEB6}"/>
                  </a:ext>
                </a:extLst>
              </p:cNvPr>
              <p:cNvSpPr/>
              <p:nvPr/>
            </p:nvSpPr>
            <p:spPr bwMode="auto">
              <a:xfrm>
                <a:off x="3770503" y="5061350"/>
                <a:ext cx="452182" cy="87336"/>
              </a:xfrm>
              <a:custGeom>
                <a:avLst/>
                <a:gdLst>
                  <a:gd name="connsiteX0" fmla="*/ 0 w 229961"/>
                  <a:gd name="connsiteY0" fmla="*/ 46002 h 46002"/>
                  <a:gd name="connsiteX1" fmla="*/ 111579 w 229961"/>
                  <a:gd name="connsiteY1" fmla="*/ 2459 h 46002"/>
                  <a:gd name="connsiteX2" fmla="*/ 229961 w 229961"/>
                  <a:gd name="connsiteY2" fmla="*/ 9262 h 46002"/>
                  <a:gd name="connsiteX0" fmla="*/ 0 w 227226"/>
                  <a:gd name="connsiteY0" fmla="*/ 46002 h 46002"/>
                  <a:gd name="connsiteX1" fmla="*/ 108844 w 227226"/>
                  <a:gd name="connsiteY1" fmla="*/ 2459 h 46002"/>
                  <a:gd name="connsiteX2" fmla="*/ 227226 w 227226"/>
                  <a:gd name="connsiteY2" fmla="*/ 9262 h 46002"/>
                  <a:gd name="connsiteX0" fmla="*/ 0 w 227226"/>
                  <a:gd name="connsiteY0" fmla="*/ 36740 h 36740"/>
                  <a:gd name="connsiteX1" fmla="*/ 227226 w 227226"/>
                  <a:gd name="connsiteY1" fmla="*/ 0 h 36740"/>
                  <a:gd name="connsiteX0" fmla="*/ 0 w 227226"/>
                  <a:gd name="connsiteY0" fmla="*/ 36740 h 36740"/>
                  <a:gd name="connsiteX1" fmla="*/ 227226 w 227226"/>
                  <a:gd name="connsiteY1" fmla="*/ 0 h 36740"/>
                  <a:gd name="connsiteX0" fmla="*/ 0 w 227226"/>
                  <a:gd name="connsiteY0" fmla="*/ 43887 h 43887"/>
                  <a:gd name="connsiteX1" fmla="*/ 227226 w 227226"/>
                  <a:gd name="connsiteY1" fmla="*/ 7147 h 43887"/>
                </a:gdLst>
                <a:ahLst/>
                <a:cxnLst>
                  <a:cxn ang="0">
                    <a:pos x="connsiteX0" y="connsiteY0"/>
                  </a:cxn>
                  <a:cxn ang="0">
                    <a:pos x="connsiteX1" y="connsiteY1"/>
                  </a:cxn>
                </a:cxnLst>
                <a:rect l="l" t="t" r="r" b="b"/>
                <a:pathLst>
                  <a:path w="227226" h="43887">
                    <a:moveTo>
                      <a:pt x="0" y="43887"/>
                    </a:moveTo>
                    <a:cubicBezTo>
                      <a:pt x="82580" y="4289"/>
                      <a:pt x="148065" y="-10008"/>
                      <a:pt x="227226" y="7147"/>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3" name="Freeform: Shape 62">
                <a:extLst>
                  <a:ext uri="{FF2B5EF4-FFF2-40B4-BE49-F238E27FC236}">
                    <a16:creationId xmlns:a16="http://schemas.microsoft.com/office/drawing/2014/main" id="{A34EDDBF-D750-4406-82C8-51B572E303EE}"/>
                  </a:ext>
                </a:extLst>
              </p:cNvPr>
              <p:cNvSpPr/>
              <p:nvPr/>
            </p:nvSpPr>
            <p:spPr bwMode="auto">
              <a:xfrm>
                <a:off x="3587852" y="5344832"/>
                <a:ext cx="315308" cy="304679"/>
              </a:xfrm>
              <a:custGeom>
                <a:avLst/>
                <a:gdLst>
                  <a:gd name="connsiteX0" fmla="*/ 0 w 171450"/>
                  <a:gd name="connsiteY0" fmla="*/ 163285 h 163285"/>
                  <a:gd name="connsiteX1" fmla="*/ 137432 w 171450"/>
                  <a:gd name="connsiteY1" fmla="*/ 59871 h 163285"/>
                  <a:gd name="connsiteX2" fmla="*/ 171450 w 171450"/>
                  <a:gd name="connsiteY2" fmla="*/ 0 h 163285"/>
                  <a:gd name="connsiteX0" fmla="*/ 0 w 155969"/>
                  <a:gd name="connsiteY0" fmla="*/ 151135 h 151135"/>
                  <a:gd name="connsiteX1" fmla="*/ 121951 w 155969"/>
                  <a:gd name="connsiteY1" fmla="*/ 59871 h 151135"/>
                  <a:gd name="connsiteX2" fmla="*/ 155969 w 155969"/>
                  <a:gd name="connsiteY2"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Lst>
                <a:ahLst/>
                <a:cxnLst>
                  <a:cxn ang="0">
                    <a:pos x="connsiteX0" y="connsiteY0"/>
                  </a:cxn>
                  <a:cxn ang="0">
                    <a:pos x="connsiteX1" y="connsiteY1"/>
                  </a:cxn>
                </a:cxnLst>
                <a:rect l="l" t="t" r="r" b="b"/>
                <a:pathLst>
                  <a:path w="155969" h="151135">
                    <a:moveTo>
                      <a:pt x="0" y="151135"/>
                    </a:moveTo>
                    <a:cubicBezTo>
                      <a:pt x="67471" y="118307"/>
                      <a:pt x="120134" y="58477"/>
                      <a:pt x="155969"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4" name="Freeform: Shape 63">
                <a:extLst>
                  <a:ext uri="{FF2B5EF4-FFF2-40B4-BE49-F238E27FC236}">
                    <a16:creationId xmlns:a16="http://schemas.microsoft.com/office/drawing/2014/main" id="{0828F9CC-1213-4FB5-A936-BBEF657BE3B8}"/>
                  </a:ext>
                </a:extLst>
              </p:cNvPr>
              <p:cNvSpPr/>
              <p:nvPr/>
            </p:nvSpPr>
            <p:spPr bwMode="auto">
              <a:xfrm>
                <a:off x="4642401" y="4363411"/>
                <a:ext cx="179213" cy="831307"/>
              </a:xfrm>
              <a:custGeom>
                <a:avLst/>
                <a:gdLst>
                  <a:gd name="connsiteX0" fmla="*/ 0 w 100249"/>
                  <a:gd name="connsiteY0" fmla="*/ 421822 h 421822"/>
                  <a:gd name="connsiteX1" fmla="*/ 99332 w 100249"/>
                  <a:gd name="connsiteY1" fmla="*/ 201386 h 421822"/>
                  <a:gd name="connsiteX2" fmla="*/ 48985 w 100249"/>
                  <a:gd name="connsiteY2" fmla="*/ 0 h 421822"/>
                  <a:gd name="connsiteX0" fmla="*/ 0 w 48985"/>
                  <a:gd name="connsiteY0" fmla="*/ 421822 h 421822"/>
                  <a:gd name="connsiteX1" fmla="*/ 48985 w 48985"/>
                  <a:gd name="connsiteY1" fmla="*/ 0 h 421822"/>
                  <a:gd name="connsiteX0" fmla="*/ 0 w 52272"/>
                  <a:gd name="connsiteY0" fmla="*/ 421822 h 421822"/>
                  <a:gd name="connsiteX1" fmla="*/ 48985 w 52272"/>
                  <a:gd name="connsiteY1" fmla="*/ 0 h 421822"/>
                  <a:gd name="connsiteX0" fmla="*/ 0 w 89757"/>
                  <a:gd name="connsiteY0" fmla="*/ 421822 h 421822"/>
                  <a:gd name="connsiteX1" fmla="*/ 48985 w 89757"/>
                  <a:gd name="connsiteY1" fmla="*/ 0 h 421822"/>
                  <a:gd name="connsiteX0" fmla="*/ 0 w 90056"/>
                  <a:gd name="connsiteY0" fmla="*/ 421822 h 421822"/>
                  <a:gd name="connsiteX1" fmla="*/ 48985 w 90056"/>
                  <a:gd name="connsiteY1" fmla="*/ 0 h 421822"/>
                </a:gdLst>
                <a:ahLst/>
                <a:cxnLst>
                  <a:cxn ang="0">
                    <a:pos x="connsiteX0" y="connsiteY0"/>
                  </a:cxn>
                  <a:cxn ang="0">
                    <a:pos x="connsiteX1" y="connsiteY1"/>
                  </a:cxn>
                </a:cxnLst>
                <a:rect l="l" t="t" r="r" b="b"/>
                <a:pathLst>
                  <a:path w="90056" h="421822">
                    <a:moveTo>
                      <a:pt x="0" y="421822"/>
                    </a:moveTo>
                    <a:cubicBezTo>
                      <a:pt x="90175" y="294333"/>
                      <a:pt x="123598" y="206200"/>
                      <a:pt x="48985"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5" name="Freeform: Shape 64">
                <a:extLst>
                  <a:ext uri="{FF2B5EF4-FFF2-40B4-BE49-F238E27FC236}">
                    <a16:creationId xmlns:a16="http://schemas.microsoft.com/office/drawing/2014/main" id="{7A185C61-2B35-4C6E-A2CB-473C603ACE77}"/>
                  </a:ext>
                </a:extLst>
              </p:cNvPr>
              <p:cNvSpPr/>
              <p:nvPr/>
            </p:nvSpPr>
            <p:spPr bwMode="auto">
              <a:xfrm>
                <a:off x="4785632" y="4875193"/>
                <a:ext cx="414582" cy="100715"/>
              </a:xfrm>
              <a:custGeom>
                <a:avLst/>
                <a:gdLst>
                  <a:gd name="connsiteX0" fmla="*/ 213632 w 213632"/>
                  <a:gd name="connsiteY0" fmla="*/ 0 h 55831"/>
                  <a:gd name="connsiteX1" fmla="*/ 84364 w 213632"/>
                  <a:gd name="connsiteY1" fmla="*/ 53067 h 55831"/>
                  <a:gd name="connsiteX2" fmla="*/ 0 w 213632"/>
                  <a:gd name="connsiteY2" fmla="*/ 43542 h 55831"/>
                  <a:gd name="connsiteX0" fmla="*/ 213632 w 213632"/>
                  <a:gd name="connsiteY0" fmla="*/ 0 h 43542"/>
                  <a:gd name="connsiteX1" fmla="*/ 0 w 213632"/>
                  <a:gd name="connsiteY1" fmla="*/ 43542 h 43542"/>
                  <a:gd name="connsiteX0" fmla="*/ 213632 w 213632"/>
                  <a:gd name="connsiteY0" fmla="*/ 0 h 48873"/>
                  <a:gd name="connsiteX1" fmla="*/ 0 w 213632"/>
                  <a:gd name="connsiteY1" fmla="*/ 43542 h 48873"/>
                  <a:gd name="connsiteX0" fmla="*/ 213632 w 213632"/>
                  <a:gd name="connsiteY0" fmla="*/ 0 h 51702"/>
                  <a:gd name="connsiteX1" fmla="*/ 0 w 213632"/>
                  <a:gd name="connsiteY1" fmla="*/ 43542 h 51702"/>
                  <a:gd name="connsiteX0" fmla="*/ 213632 w 213632"/>
                  <a:gd name="connsiteY0" fmla="*/ 0 h 50610"/>
                  <a:gd name="connsiteX1" fmla="*/ 0 w 213632"/>
                  <a:gd name="connsiteY1" fmla="*/ 43542 h 50610"/>
                </a:gdLst>
                <a:ahLst/>
                <a:cxnLst>
                  <a:cxn ang="0">
                    <a:pos x="connsiteX0" y="connsiteY0"/>
                  </a:cxn>
                  <a:cxn ang="0">
                    <a:pos x="connsiteX1" y="connsiteY1"/>
                  </a:cxn>
                </a:cxnLst>
                <a:rect l="l" t="t" r="r" b="b"/>
                <a:pathLst>
                  <a:path w="213632" h="50610">
                    <a:moveTo>
                      <a:pt x="213632" y="0"/>
                    </a:moveTo>
                    <a:cubicBezTo>
                      <a:pt x="168195" y="32976"/>
                      <a:pt x="91725" y="65268"/>
                      <a:pt x="0" y="43542"/>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7" name="Freeform: Shape 66">
                <a:extLst>
                  <a:ext uri="{FF2B5EF4-FFF2-40B4-BE49-F238E27FC236}">
                    <a16:creationId xmlns:a16="http://schemas.microsoft.com/office/drawing/2014/main" id="{31E0AACF-D21A-4DE4-824B-F539AD4E1987}"/>
                  </a:ext>
                </a:extLst>
              </p:cNvPr>
              <p:cNvSpPr/>
              <p:nvPr/>
            </p:nvSpPr>
            <p:spPr bwMode="auto">
              <a:xfrm>
                <a:off x="5311236" y="4363412"/>
                <a:ext cx="1001900" cy="308046"/>
              </a:xfrm>
              <a:custGeom>
                <a:avLst/>
                <a:gdLst>
                  <a:gd name="connsiteX0" fmla="*/ 503464 w 503464"/>
                  <a:gd name="connsiteY0" fmla="*/ 106135 h 154882"/>
                  <a:gd name="connsiteX1" fmla="*/ 216354 w 503464"/>
                  <a:gd name="connsiteY1" fmla="*/ 149678 h 154882"/>
                  <a:gd name="connsiteX2" fmla="*/ 0 w 503464"/>
                  <a:gd name="connsiteY2" fmla="*/ 0 h 154882"/>
                  <a:gd name="connsiteX0" fmla="*/ 503464 w 503464"/>
                  <a:gd name="connsiteY0" fmla="*/ 106135 h 106135"/>
                  <a:gd name="connsiteX1" fmla="*/ 0 w 503464"/>
                  <a:gd name="connsiteY1" fmla="*/ 0 h 106135"/>
                  <a:gd name="connsiteX0" fmla="*/ 503464 w 503464"/>
                  <a:gd name="connsiteY0" fmla="*/ 106135 h 106135"/>
                  <a:gd name="connsiteX1" fmla="*/ 0 w 503464"/>
                  <a:gd name="connsiteY1" fmla="*/ 0 h 106135"/>
                  <a:gd name="connsiteX0" fmla="*/ 503464 w 503464"/>
                  <a:gd name="connsiteY0" fmla="*/ 106135 h 154796"/>
                  <a:gd name="connsiteX1" fmla="*/ 0 w 503464"/>
                  <a:gd name="connsiteY1" fmla="*/ 0 h 154796"/>
                </a:gdLst>
                <a:ahLst/>
                <a:cxnLst>
                  <a:cxn ang="0">
                    <a:pos x="connsiteX0" y="connsiteY0"/>
                  </a:cxn>
                  <a:cxn ang="0">
                    <a:pos x="connsiteX1" y="connsiteY1"/>
                  </a:cxn>
                </a:cxnLst>
                <a:rect l="l" t="t" r="r" b="b"/>
                <a:pathLst>
                  <a:path w="503464" h="154796">
                    <a:moveTo>
                      <a:pt x="503464" y="106135"/>
                    </a:moveTo>
                    <a:cubicBezTo>
                      <a:pt x="387609" y="195203"/>
                      <a:pt x="72093" y="163243"/>
                      <a:pt x="0"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sp>
            <p:nvSpPr>
              <p:cNvPr id="68" name="Freeform: Shape 67">
                <a:extLst>
                  <a:ext uri="{FF2B5EF4-FFF2-40B4-BE49-F238E27FC236}">
                    <a16:creationId xmlns:a16="http://schemas.microsoft.com/office/drawing/2014/main" id="{D63DD180-FF3A-4874-B3EA-E882A372F81A}"/>
                  </a:ext>
                </a:extLst>
              </p:cNvPr>
              <p:cNvSpPr/>
              <p:nvPr/>
            </p:nvSpPr>
            <p:spPr bwMode="auto">
              <a:xfrm>
                <a:off x="5863318" y="4671458"/>
                <a:ext cx="349629" cy="604494"/>
              </a:xfrm>
              <a:custGeom>
                <a:avLst/>
                <a:gdLst>
                  <a:gd name="connsiteX0" fmla="*/ 187779 w 187779"/>
                  <a:gd name="connsiteY0" fmla="*/ 318407 h 318407"/>
                  <a:gd name="connsiteX1" fmla="*/ 99333 w 187779"/>
                  <a:gd name="connsiteY1" fmla="*/ 110218 h 318407"/>
                  <a:gd name="connsiteX2" fmla="*/ 0 w 187779"/>
                  <a:gd name="connsiteY2"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Lst>
                <a:ahLst/>
                <a:cxnLst>
                  <a:cxn ang="0">
                    <a:pos x="connsiteX0" y="connsiteY0"/>
                  </a:cxn>
                  <a:cxn ang="0">
                    <a:pos x="connsiteX1" y="connsiteY1"/>
                  </a:cxn>
                </a:cxnLst>
                <a:rect l="l" t="t" r="r" b="b"/>
                <a:pathLst>
                  <a:path w="187779" h="318407">
                    <a:moveTo>
                      <a:pt x="187779" y="318407"/>
                    </a:moveTo>
                    <a:cubicBezTo>
                      <a:pt x="179997" y="236640"/>
                      <a:pt x="132751" y="105419"/>
                      <a:pt x="0"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grpSp>
      </p:grpSp>
      <p:grpSp>
        <p:nvGrpSpPr>
          <p:cNvPr id="3" name="Group 2">
            <a:extLst>
              <a:ext uri="{FF2B5EF4-FFF2-40B4-BE49-F238E27FC236}">
                <a16:creationId xmlns:a16="http://schemas.microsoft.com/office/drawing/2014/main" id="{C31F99D7-B189-4394-9BB1-4828DAEE7123}"/>
              </a:ext>
            </a:extLst>
          </p:cNvPr>
          <p:cNvGrpSpPr/>
          <p:nvPr/>
        </p:nvGrpSpPr>
        <p:grpSpPr>
          <a:xfrm>
            <a:off x="9549733" y="1127153"/>
            <a:ext cx="114529" cy="270402"/>
            <a:chOff x="4081774" y="3329291"/>
            <a:chExt cx="208476" cy="695630"/>
          </a:xfrm>
        </p:grpSpPr>
        <p:sp>
          <p:nvSpPr>
            <p:cNvPr id="69" name="Freeform: Shape 234">
              <a:extLst>
                <a:ext uri="{FF2B5EF4-FFF2-40B4-BE49-F238E27FC236}">
                  <a16:creationId xmlns:a16="http://schemas.microsoft.com/office/drawing/2014/main" id="{4F8E639B-C796-4941-B53C-C68E0980B38E}"/>
                </a:ext>
              </a:extLst>
            </p:cNvPr>
            <p:cNvSpPr/>
            <p:nvPr/>
          </p:nvSpPr>
          <p:spPr bwMode="auto">
            <a:xfrm>
              <a:off x="4081774" y="3385143"/>
              <a:ext cx="208476" cy="428318"/>
            </a:xfrm>
            <a:custGeom>
              <a:avLst/>
              <a:gdLst>
                <a:gd name="connsiteX0" fmla="*/ 1610436 w 1744997"/>
                <a:gd name="connsiteY0" fmla="*/ 0 h 3184478"/>
                <a:gd name="connsiteX1" fmla="*/ 90985 w 1744997"/>
                <a:gd name="connsiteY1" fmla="*/ 523165 h 3184478"/>
                <a:gd name="connsiteX2" fmla="*/ 900752 w 1744997"/>
                <a:gd name="connsiteY2" fmla="*/ 1628633 h 3184478"/>
                <a:gd name="connsiteX3" fmla="*/ 1724167 w 1744997"/>
                <a:gd name="connsiteY3" fmla="*/ 2602174 h 3184478"/>
                <a:gd name="connsiteX4" fmla="*/ 0 w 1744997"/>
                <a:gd name="connsiteY4" fmla="*/ 3184478 h 3184478"/>
                <a:gd name="connsiteX0" fmla="*/ 1610436 w 1724272"/>
                <a:gd name="connsiteY0" fmla="*/ 0 h 3184478"/>
                <a:gd name="connsiteX1" fmla="*/ 90985 w 1724272"/>
                <a:gd name="connsiteY1" fmla="*/ 523165 h 3184478"/>
                <a:gd name="connsiteX2" fmla="*/ 1724167 w 1724272"/>
                <a:gd name="connsiteY2" fmla="*/ 2602174 h 3184478"/>
                <a:gd name="connsiteX3" fmla="*/ 0 w 1724272"/>
                <a:gd name="connsiteY3" fmla="*/ 3184478 h 3184478"/>
                <a:gd name="connsiteX0" fmla="*/ 1610436 w 1724272"/>
                <a:gd name="connsiteY0" fmla="*/ 137369 h 3321847"/>
                <a:gd name="connsiteX1" fmla="*/ 90985 w 1724272"/>
                <a:gd name="connsiteY1" fmla="*/ 660534 h 3321847"/>
                <a:gd name="connsiteX2" fmla="*/ 1724167 w 1724272"/>
                <a:gd name="connsiteY2" fmla="*/ 2739543 h 3321847"/>
                <a:gd name="connsiteX3" fmla="*/ 0 w 1724272"/>
                <a:gd name="connsiteY3" fmla="*/ 3321847 h 3321847"/>
                <a:gd name="connsiteX0" fmla="*/ 1610436 w 1724265"/>
                <a:gd name="connsiteY0" fmla="*/ 256061 h 3440539"/>
                <a:gd name="connsiteX1" fmla="*/ 90985 w 1724265"/>
                <a:gd name="connsiteY1" fmla="*/ 779226 h 3440539"/>
                <a:gd name="connsiteX2" fmla="*/ 1724167 w 1724265"/>
                <a:gd name="connsiteY2" fmla="*/ 2858235 h 3440539"/>
                <a:gd name="connsiteX3" fmla="*/ 0 w 1724265"/>
                <a:gd name="connsiteY3" fmla="*/ 3440539 h 3440539"/>
                <a:gd name="connsiteX0" fmla="*/ 1610436 w 1741923"/>
                <a:gd name="connsiteY0" fmla="*/ 256061 h 3440539"/>
                <a:gd name="connsiteX1" fmla="*/ 90985 w 1741923"/>
                <a:gd name="connsiteY1" fmla="*/ 779226 h 3440539"/>
                <a:gd name="connsiteX2" fmla="*/ 1724167 w 1741923"/>
                <a:gd name="connsiteY2" fmla="*/ 2858235 h 3440539"/>
                <a:gd name="connsiteX3" fmla="*/ 0 w 1741923"/>
                <a:gd name="connsiteY3" fmla="*/ 3440539 h 3440539"/>
                <a:gd name="connsiteX0" fmla="*/ 1610436 w 1724327"/>
                <a:gd name="connsiteY0" fmla="*/ 256061 h 3440539"/>
                <a:gd name="connsiteX1" fmla="*/ 90985 w 1724327"/>
                <a:gd name="connsiteY1" fmla="*/ 779226 h 3440539"/>
                <a:gd name="connsiteX2" fmla="*/ 1724167 w 1724327"/>
                <a:gd name="connsiteY2" fmla="*/ 2858235 h 3440539"/>
                <a:gd name="connsiteX3" fmla="*/ 0 w 1724327"/>
                <a:gd name="connsiteY3" fmla="*/ 3440539 h 3440539"/>
                <a:gd name="connsiteX0" fmla="*/ 1610436 w 1725288"/>
                <a:gd name="connsiteY0" fmla="*/ 256061 h 3482768"/>
                <a:gd name="connsiteX1" fmla="*/ 90985 w 1725288"/>
                <a:gd name="connsiteY1" fmla="*/ 779226 h 3482768"/>
                <a:gd name="connsiteX2" fmla="*/ 1724167 w 1725288"/>
                <a:gd name="connsiteY2" fmla="*/ 2858235 h 3482768"/>
                <a:gd name="connsiteX3" fmla="*/ 0 w 1725288"/>
                <a:gd name="connsiteY3" fmla="*/ 3440539 h 3482768"/>
                <a:gd name="connsiteX0" fmla="*/ 1610436 w 1725288"/>
                <a:gd name="connsiteY0" fmla="*/ 256061 h 3630751"/>
                <a:gd name="connsiteX1" fmla="*/ 90985 w 1725288"/>
                <a:gd name="connsiteY1" fmla="*/ 779226 h 3630751"/>
                <a:gd name="connsiteX2" fmla="*/ 1724167 w 1725288"/>
                <a:gd name="connsiteY2" fmla="*/ 2858235 h 3630751"/>
                <a:gd name="connsiteX3" fmla="*/ 0 w 1725288"/>
                <a:gd name="connsiteY3" fmla="*/ 3440539 h 3630751"/>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14"/>
                <a:gd name="connsiteY0" fmla="*/ 194772 h 3569462"/>
                <a:gd name="connsiteX1" fmla="*/ 90985 w 1725214"/>
                <a:gd name="connsiteY1" fmla="*/ 717937 h 3569462"/>
                <a:gd name="connsiteX2" fmla="*/ 1724167 w 1725214"/>
                <a:gd name="connsiteY2" fmla="*/ 2796946 h 3569462"/>
                <a:gd name="connsiteX3" fmla="*/ 0 w 1725214"/>
                <a:gd name="connsiteY3" fmla="*/ 3379250 h 3569462"/>
                <a:gd name="connsiteX0" fmla="*/ 1610436 w 1725401"/>
                <a:gd name="connsiteY0" fmla="*/ 194772 h 3569481"/>
                <a:gd name="connsiteX1" fmla="*/ 90985 w 1725401"/>
                <a:gd name="connsiteY1" fmla="*/ 717937 h 3569481"/>
                <a:gd name="connsiteX2" fmla="*/ 1724167 w 1725401"/>
                <a:gd name="connsiteY2" fmla="*/ 2796946 h 3569481"/>
                <a:gd name="connsiteX3" fmla="*/ 0 w 1725401"/>
                <a:gd name="connsiteY3" fmla="*/ 3379250 h 3569481"/>
                <a:gd name="connsiteX0" fmla="*/ 1610436 w 1725387"/>
                <a:gd name="connsiteY0" fmla="*/ 170107 h 3544816"/>
                <a:gd name="connsiteX1" fmla="*/ 90985 w 1725387"/>
                <a:gd name="connsiteY1" fmla="*/ 693272 h 3544816"/>
                <a:gd name="connsiteX2" fmla="*/ 1724167 w 1725387"/>
                <a:gd name="connsiteY2" fmla="*/ 2772281 h 3544816"/>
                <a:gd name="connsiteX3" fmla="*/ 0 w 1725387"/>
                <a:gd name="connsiteY3" fmla="*/ 3354585 h 3544816"/>
              </a:gdLst>
              <a:ahLst/>
              <a:cxnLst>
                <a:cxn ang="0">
                  <a:pos x="connsiteX0" y="connsiteY0"/>
                </a:cxn>
                <a:cxn ang="0">
                  <a:pos x="connsiteX1" y="connsiteY1"/>
                </a:cxn>
                <a:cxn ang="0">
                  <a:pos x="connsiteX2" y="connsiteY2"/>
                </a:cxn>
                <a:cxn ang="0">
                  <a:pos x="connsiteX3" y="connsiteY3"/>
                </a:cxn>
              </a:cxnLst>
              <a:rect l="l" t="t" r="r" b="b"/>
              <a:pathLst>
                <a:path w="1725387" h="3544816">
                  <a:moveTo>
                    <a:pt x="1610436" y="170107"/>
                  </a:moveTo>
                  <a:cubicBezTo>
                    <a:pt x="864359" y="-204447"/>
                    <a:pt x="234321" y="70327"/>
                    <a:pt x="90985" y="693272"/>
                  </a:cubicBezTo>
                  <a:cubicBezTo>
                    <a:pt x="-144789" y="1717958"/>
                    <a:pt x="1780667" y="1815552"/>
                    <a:pt x="1724167" y="2772281"/>
                  </a:cubicBezTo>
                  <a:cubicBezTo>
                    <a:pt x="1662160" y="3822254"/>
                    <a:pt x="291152" y="3566126"/>
                    <a:pt x="0" y="3354585"/>
                  </a:cubicBezTo>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a:solidFill>
                  <a:srgbClr val="FFFFFF"/>
                </a:solidFill>
                <a:latin typeface="Segoe UI"/>
              </a:endParaRPr>
            </a:p>
          </p:txBody>
        </p:sp>
        <p:cxnSp>
          <p:nvCxnSpPr>
            <p:cNvPr id="70" name="Straight Connector 69">
              <a:extLst>
                <a:ext uri="{FF2B5EF4-FFF2-40B4-BE49-F238E27FC236}">
                  <a16:creationId xmlns:a16="http://schemas.microsoft.com/office/drawing/2014/main" id="{BF2A3E98-28B2-40B7-969C-89FBA425A45E}"/>
                </a:ext>
              </a:extLst>
            </p:cNvPr>
            <p:cNvCxnSpPr>
              <a:cxnSpLocks/>
            </p:cNvCxnSpPr>
            <p:nvPr/>
          </p:nvCxnSpPr>
          <p:spPr>
            <a:xfrm>
              <a:off x="4186012" y="3329291"/>
              <a:ext cx="0" cy="695630"/>
            </a:xfrm>
            <a:prstGeom prst="line">
              <a:avLst/>
            </a:prstGeom>
            <a:ln w="190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72" name="Rectangle 71">
            <a:extLst>
              <a:ext uri="{FF2B5EF4-FFF2-40B4-BE49-F238E27FC236}">
                <a16:creationId xmlns:a16="http://schemas.microsoft.com/office/drawing/2014/main" id="{9F89A7BC-5B95-442F-9381-09D98A284D84}"/>
              </a:ext>
            </a:extLst>
          </p:cNvPr>
          <p:cNvSpPr/>
          <p:nvPr/>
        </p:nvSpPr>
        <p:spPr>
          <a:xfrm>
            <a:off x="3032889" y="1038642"/>
            <a:ext cx="3157570" cy="362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algn="ctr" defTabSz="914225"/>
            <a:r>
              <a:rPr lang="en-US" sz="1765" kern="0" spc="100" dirty="0">
                <a:solidFill>
                  <a:srgbClr val="FFFFFF"/>
                </a:solidFill>
                <a:latin typeface="Segoe UI Semibold" charset="0"/>
                <a:cs typeface="Segoe UI Semibold" charset="0"/>
              </a:rPr>
              <a:t>Privacy and Trust</a:t>
            </a:r>
          </a:p>
        </p:txBody>
      </p:sp>
      <p:sp>
        <p:nvSpPr>
          <p:cNvPr id="43" name="Text Placeholder 2">
            <a:extLst>
              <a:ext uri="{FF2B5EF4-FFF2-40B4-BE49-F238E27FC236}">
                <a16:creationId xmlns:a16="http://schemas.microsoft.com/office/drawing/2014/main" id="{02865209-0BC8-4085-BDD5-DB2210EA2464}"/>
              </a:ext>
            </a:extLst>
          </p:cNvPr>
          <p:cNvSpPr txBox="1">
            <a:spLocks/>
          </p:cNvSpPr>
          <p:nvPr/>
        </p:nvSpPr>
        <p:spPr>
          <a:xfrm>
            <a:off x="9673318" y="1797790"/>
            <a:ext cx="2689273" cy="2576580"/>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4080"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2448"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4192"/>
            <a:endParaRPr lang="en-US" sz="1961" dirty="0">
              <a:solidFill>
                <a:srgbClr val="FFFFFF"/>
              </a:solidFill>
              <a:latin typeface="Segoe UI Light"/>
            </a:endParaRPr>
          </a:p>
        </p:txBody>
      </p:sp>
      <p:sp>
        <p:nvSpPr>
          <p:cNvPr id="44" name="Text Placeholder 2">
            <a:extLst>
              <a:ext uri="{FF2B5EF4-FFF2-40B4-BE49-F238E27FC236}">
                <a16:creationId xmlns:a16="http://schemas.microsoft.com/office/drawing/2014/main" id="{32141C80-58AB-4C66-A3D7-F4CEF5DF49B0}"/>
              </a:ext>
            </a:extLst>
          </p:cNvPr>
          <p:cNvSpPr txBox="1">
            <a:spLocks/>
          </p:cNvSpPr>
          <p:nvPr/>
        </p:nvSpPr>
        <p:spPr>
          <a:xfrm>
            <a:off x="462628" y="1822124"/>
            <a:ext cx="3080120" cy="4135702"/>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4080"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2448"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4192"/>
            <a:endParaRPr lang="en-US" sz="1568" kern="0" spc="100" dirty="0">
              <a:solidFill>
                <a:srgbClr val="FFFFFF"/>
              </a:solidFill>
              <a:latin typeface="Segoe UI Semibold" charset="0"/>
              <a:cs typeface="Segoe UI Semibold" charset="0"/>
            </a:endParaRPr>
          </a:p>
          <a:p>
            <a:pPr marL="336081" lvl="1" indent="0" defTabSz="914192">
              <a:buNone/>
            </a:pPr>
            <a:endParaRPr lang="en-US" sz="1568" kern="0" spc="100" dirty="0">
              <a:solidFill>
                <a:srgbClr val="FFFFFF"/>
              </a:solidFill>
              <a:latin typeface="Segoe UI Semibold" charset="0"/>
              <a:cs typeface="Segoe UI Semibold" charset="0"/>
            </a:endParaRPr>
          </a:p>
          <a:p>
            <a:pPr marL="572581" lvl="1" indent="-236500" defTabSz="914192"/>
            <a:endParaRPr lang="en-US" sz="1568" dirty="0">
              <a:gradFill>
                <a:gsLst>
                  <a:gs pos="1250">
                    <a:srgbClr val="000000"/>
                  </a:gs>
                  <a:gs pos="100000">
                    <a:srgbClr val="000000"/>
                  </a:gs>
                </a:gsLst>
                <a:lin ang="5400000" scaled="0"/>
              </a:gradFill>
              <a:latin typeface="Segoe UI"/>
            </a:endParaRPr>
          </a:p>
        </p:txBody>
      </p:sp>
      <p:sp>
        <p:nvSpPr>
          <p:cNvPr id="45" name="Text Placeholder 2">
            <a:extLst>
              <a:ext uri="{FF2B5EF4-FFF2-40B4-BE49-F238E27FC236}">
                <a16:creationId xmlns:a16="http://schemas.microsoft.com/office/drawing/2014/main" id="{678EDFDA-ECD2-4C3B-83C3-3BD00F765B8E}"/>
              </a:ext>
            </a:extLst>
          </p:cNvPr>
          <p:cNvSpPr txBox="1">
            <a:spLocks/>
          </p:cNvSpPr>
          <p:nvPr/>
        </p:nvSpPr>
        <p:spPr>
          <a:xfrm>
            <a:off x="3443622" y="1822123"/>
            <a:ext cx="2924604" cy="4174148"/>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4080"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2448"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rgbClr val="0078D7"/>
              </a:buClr>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4192"/>
            <a:endParaRPr lang="en-US" sz="1765" b="1" dirty="0">
              <a:solidFill>
                <a:srgbClr val="FFFFFF"/>
              </a:solidFill>
              <a:latin typeface="Segoe UI Semilight" panose="020B0402040204020203" pitchFamily="34" charset="0"/>
              <a:cs typeface="Segoe UI Semilight" panose="020B0402040204020203" pitchFamily="34" charset="0"/>
            </a:endParaRPr>
          </a:p>
          <a:p>
            <a:pPr marL="336080" indent="-336080" defTabSz="914192"/>
            <a:endParaRPr lang="en-US" sz="1568" kern="0" spc="100" dirty="0">
              <a:solidFill>
                <a:srgbClr val="FFFFFF"/>
              </a:solidFill>
              <a:latin typeface="Segoe UI Semibold" charset="0"/>
              <a:cs typeface="Segoe UI Semibold" charset="0"/>
            </a:endParaRPr>
          </a:p>
          <a:p>
            <a:pPr marL="336080" indent="-336080" defTabSz="914192"/>
            <a:endParaRPr lang="en-US" sz="1765" b="1" dirty="0">
              <a:solidFill>
                <a:srgbClr val="FFFFFF"/>
              </a:solidFill>
              <a:latin typeface="Segoe UI Semilight" panose="020B0402040204020203" pitchFamily="34" charset="0"/>
              <a:cs typeface="Segoe UI Semilight" panose="020B0402040204020203" pitchFamily="34" charset="0"/>
            </a:endParaRPr>
          </a:p>
        </p:txBody>
      </p:sp>
      <p:graphicFrame>
        <p:nvGraphicFramePr>
          <p:cNvPr id="7" name="Table 6">
            <a:extLst>
              <a:ext uri="{FF2B5EF4-FFF2-40B4-BE49-F238E27FC236}">
                <a16:creationId xmlns:a16="http://schemas.microsoft.com/office/drawing/2014/main" id="{ABA4E545-0CB8-483C-9C07-776A7FD6648F}"/>
              </a:ext>
            </a:extLst>
          </p:cNvPr>
          <p:cNvGraphicFramePr>
            <a:graphicFrameLocks noGrp="1"/>
          </p:cNvGraphicFramePr>
          <p:nvPr>
            <p:extLst/>
          </p:nvPr>
        </p:nvGraphicFramePr>
        <p:xfrm>
          <a:off x="179020" y="1633566"/>
          <a:ext cx="2899355" cy="4920827"/>
        </p:xfrm>
        <a:graphic>
          <a:graphicData uri="http://schemas.openxmlformats.org/drawingml/2006/table">
            <a:tbl>
              <a:tblPr firstRow="1" bandRow="1">
                <a:tableStyleId>{5DA37D80-6434-44D0-A028-1B22A696006F}</a:tableStyleId>
              </a:tblPr>
              <a:tblGrid>
                <a:gridCol w="2899355">
                  <a:extLst>
                    <a:ext uri="{9D8B030D-6E8A-4147-A177-3AD203B41FA5}">
                      <a16:colId xmlns:a16="http://schemas.microsoft.com/office/drawing/2014/main" val="3485591923"/>
                    </a:ext>
                  </a:extLst>
                </a:gridCol>
              </a:tblGrid>
              <a:tr h="1191533">
                <a:tc>
                  <a:txBody>
                    <a:bodyPr/>
                    <a:lstStyle/>
                    <a:p>
                      <a:pPr marL="0" indent="0">
                        <a:buNone/>
                      </a:pPr>
                      <a:r>
                        <a:rPr lang="en-US" sz="1600" b="1" cap="all" dirty="0">
                          <a:solidFill>
                            <a:schemeClr val="bg1"/>
                          </a:solidFill>
                          <a:latin typeface="Segoe UI Semilight" panose="020B0402040204020203" pitchFamily="34" charset="0"/>
                          <a:cs typeface="Segoe UI Semilight" panose="020B0402040204020203" pitchFamily="34" charset="0"/>
                        </a:rPr>
                        <a:t>Operational analytics</a:t>
                      </a:r>
                    </a:p>
                    <a:p>
                      <a:pPr marL="342835" lvl="1" indent="0">
                        <a:buNone/>
                      </a:pPr>
                      <a:r>
                        <a:rPr lang="en-US" sz="1600" kern="0" spc="102" dirty="0">
                          <a:solidFill>
                            <a:srgbClr val="FFFFFF"/>
                          </a:solidFill>
                          <a:latin typeface="Segoe UI Semibold" charset="0"/>
                          <a:cs typeface="Segoe UI Semibold" charset="0"/>
                        </a:rPr>
                        <a:t>Columnstore</a:t>
                      </a:r>
                    </a:p>
                    <a:p>
                      <a:pPr marL="342835" lvl="1" indent="0">
                        <a:buNone/>
                      </a:pPr>
                      <a:r>
                        <a:rPr lang="en-US" sz="1600" kern="0" spc="102" dirty="0">
                          <a:solidFill>
                            <a:srgbClr val="FFFFFF"/>
                          </a:solidFill>
                          <a:latin typeface="Segoe UI Semibold" charset="0"/>
                          <a:cs typeface="Segoe UI Semibold" charset="0"/>
                        </a:rPr>
                        <a:t>Hekaton (in-memory OLTP)</a:t>
                      </a:r>
                    </a:p>
                  </a:txBody>
                  <a:tcPr marL="89642" marR="89642" marT="44821" marB="44821">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5241603"/>
                  </a:ext>
                </a:extLst>
              </a:tr>
              <a:tr h="3729294">
                <a:tc>
                  <a:txBody>
                    <a:bodyPr/>
                    <a:lstStyle/>
                    <a:p>
                      <a:pPr marL="0" indent="0">
                        <a:buNone/>
                      </a:pPr>
                      <a:r>
                        <a:rPr lang="en-US" sz="1600" b="1" cap="all" dirty="0">
                          <a:solidFill>
                            <a:schemeClr val="bg1"/>
                          </a:solidFill>
                          <a:latin typeface="Segoe UI Semilight" panose="020B0402040204020203" pitchFamily="34" charset="0"/>
                          <a:cs typeface="Segoe UI Semilight" panose="020B0402040204020203" pitchFamily="34" charset="0"/>
                        </a:rPr>
                        <a:t>Predictable performance</a:t>
                      </a:r>
                    </a:p>
                    <a:p>
                      <a:pPr marL="342835" lvl="1" indent="0">
                        <a:buNone/>
                      </a:pPr>
                      <a:r>
                        <a:rPr lang="en-US" sz="1600" kern="0" spc="102" dirty="0">
                          <a:solidFill>
                            <a:schemeClr val="bg1"/>
                          </a:solidFill>
                          <a:latin typeface="Segoe UI Semibold" charset="0"/>
                          <a:cs typeface="Segoe UI Semibold" charset="0"/>
                        </a:rPr>
                        <a:t>Query Store</a:t>
                      </a:r>
                    </a:p>
                    <a:p>
                      <a:pPr marL="342835" lvl="1" indent="0">
                        <a:buNone/>
                      </a:pPr>
                      <a:r>
                        <a:rPr lang="en-US" sz="1600" kern="0" spc="102" dirty="0">
                          <a:solidFill>
                            <a:schemeClr val="bg1"/>
                          </a:solidFill>
                          <a:latin typeface="Segoe UI Semibold" charset="0"/>
                          <a:cs typeface="Segoe UI Semibold" charset="0"/>
                        </a:rPr>
                        <a:t>Index Optimization</a:t>
                      </a:r>
                    </a:p>
                    <a:p>
                      <a:pPr marL="342835" lvl="1" indent="0">
                        <a:spcBef>
                          <a:spcPts val="0"/>
                        </a:spcBef>
                        <a:spcAft>
                          <a:spcPts val="0"/>
                        </a:spcAft>
                        <a:buNone/>
                      </a:pPr>
                      <a:r>
                        <a:rPr lang="en-US" sz="1600" b="1" cap="small" baseline="0" dirty="0">
                          <a:solidFill>
                            <a:srgbClr val="FFFF00"/>
                          </a:solidFill>
                          <a:latin typeface="Segoe UI Semibold" panose="020B0702040204020203" pitchFamily="34" charset="0"/>
                          <a:cs typeface="Segoe UI Semibold" panose="020B0702040204020203" pitchFamily="34" charset="0"/>
                        </a:rPr>
                        <a:t>Automatic tuning</a:t>
                      </a:r>
                    </a:p>
                    <a:p>
                      <a:pPr marL="342835" lvl="1" indent="0">
                        <a:spcBef>
                          <a:spcPts val="0"/>
                        </a:spcBef>
                        <a:spcAft>
                          <a:spcPts val="0"/>
                        </a:spcAft>
                        <a:buNone/>
                      </a:pPr>
                      <a:r>
                        <a:rPr lang="en-US" sz="1600" b="1" cap="small" baseline="0" dirty="0">
                          <a:solidFill>
                            <a:srgbClr val="FFFF00"/>
                          </a:solidFill>
                          <a:latin typeface="Segoe UI Semibold" panose="020B0702040204020203" pitchFamily="34" charset="0"/>
                          <a:cs typeface="Segoe UI Semibold" panose="020B0702040204020203" pitchFamily="34" charset="0"/>
                        </a:rPr>
                        <a:t>Auto query plan correction</a:t>
                      </a:r>
                    </a:p>
                    <a:p>
                      <a:pPr marL="342835" lvl="1" indent="0">
                        <a:spcBef>
                          <a:spcPts val="0"/>
                        </a:spcBef>
                        <a:spcAft>
                          <a:spcPts val="0"/>
                        </a:spcAft>
                        <a:buNone/>
                      </a:pPr>
                      <a:r>
                        <a:rPr lang="en-US" sz="1600" b="1" cap="small" baseline="0" dirty="0">
                          <a:solidFill>
                            <a:srgbClr val="FFFF00"/>
                          </a:solidFill>
                          <a:latin typeface="Segoe UI Semibold" panose="020B0702040204020203" pitchFamily="34" charset="0"/>
                          <a:cs typeface="Segoe UI Semibold" panose="020B0702040204020203" pitchFamily="34" charset="0"/>
                        </a:rPr>
                        <a:t>Performance Insight in OMS</a:t>
                      </a:r>
                    </a:p>
                    <a:p>
                      <a:pPr marL="342835" lvl="1" indent="0">
                        <a:spcBef>
                          <a:spcPts val="0"/>
                        </a:spcBef>
                        <a:spcAft>
                          <a:spcPts val="0"/>
                        </a:spcAft>
                        <a:buNone/>
                      </a:pPr>
                      <a:r>
                        <a:rPr lang="en-US" sz="1600" b="1" cap="small" baseline="0" dirty="0">
                          <a:solidFill>
                            <a:srgbClr val="FFFF00"/>
                          </a:solidFill>
                          <a:latin typeface="Segoe UI Semibold" panose="020B0702040204020203" pitchFamily="34" charset="0"/>
                          <a:cs typeface="Segoe UI Semibold" panose="020B0702040204020203" pitchFamily="34" charset="0"/>
                        </a:rPr>
                        <a:t>Adaptive Query Processing</a:t>
                      </a:r>
                    </a:p>
                    <a:p>
                      <a:pPr marL="0" indent="0">
                        <a:spcBef>
                          <a:spcPts val="600"/>
                        </a:spcBef>
                        <a:buNone/>
                      </a:pPr>
                      <a:r>
                        <a:rPr lang="en-US" sz="1600" b="1" cap="all" baseline="0" dirty="0">
                          <a:solidFill>
                            <a:srgbClr val="FFFF00"/>
                          </a:solidFill>
                          <a:latin typeface="Segoe UI Semibold" panose="020B0702040204020203" pitchFamily="34" charset="0"/>
                          <a:cs typeface="Segoe UI Semilight" panose="020B0402040204020203" pitchFamily="34" charset="0"/>
                        </a:rPr>
                        <a:t>SQL Graph</a:t>
                      </a:r>
                    </a:p>
                    <a:p>
                      <a:pPr marL="0" indent="0">
                        <a:spcBef>
                          <a:spcPts val="600"/>
                        </a:spcBef>
                        <a:buNone/>
                      </a:pPr>
                      <a:r>
                        <a:rPr lang="en-US" sz="1600" b="1" cap="all" dirty="0">
                          <a:solidFill>
                            <a:schemeClr val="bg1"/>
                          </a:solidFill>
                          <a:latin typeface="Segoe UI Semilight" panose="020B0402040204020203" pitchFamily="34" charset="0"/>
                          <a:cs typeface="Segoe UI Semilight" panose="020B0402040204020203" pitchFamily="34" charset="0"/>
                        </a:rPr>
                        <a:t>Advanced analytics</a:t>
                      </a:r>
                    </a:p>
                    <a:p>
                      <a:pPr marL="342835" lvl="1" indent="0">
                        <a:spcBef>
                          <a:spcPts val="0"/>
                        </a:spcBef>
                        <a:spcAft>
                          <a:spcPts val="0"/>
                        </a:spcAft>
                        <a:buNone/>
                      </a:pPr>
                      <a:r>
                        <a:rPr lang="en-US" sz="1600" b="1" cap="small" baseline="0" dirty="0">
                          <a:solidFill>
                            <a:srgbClr val="FFFF00"/>
                          </a:solidFill>
                          <a:latin typeface="Segoe UI Semibold" panose="020B0702040204020203" pitchFamily="34" charset="0"/>
                          <a:cs typeface="Segoe UI Semibold" panose="020B0702040204020203" pitchFamily="34" charset="0"/>
                        </a:rPr>
                        <a:t>Native PREDICT</a:t>
                      </a:r>
                    </a:p>
                    <a:p>
                      <a:pPr marL="342835" lvl="1" indent="0">
                        <a:spcBef>
                          <a:spcPts val="0"/>
                        </a:spcBef>
                        <a:spcAft>
                          <a:spcPts val="0"/>
                        </a:spcAft>
                        <a:buNone/>
                      </a:pPr>
                      <a:r>
                        <a:rPr lang="en-US" sz="1600" b="1" cap="small" baseline="0" dirty="0">
                          <a:solidFill>
                            <a:srgbClr val="FFFF00"/>
                          </a:solidFill>
                          <a:latin typeface="Segoe UI Semibold" panose="020B0702040204020203" pitchFamily="34" charset="0"/>
                          <a:cs typeface="Segoe UI Semibold" panose="020B0702040204020203" pitchFamily="34" charset="0"/>
                        </a:rPr>
                        <a:t>R Services</a:t>
                      </a:r>
                      <a:endParaRPr lang="en-US" sz="1600" kern="0" cap="small" spc="102" baseline="0" dirty="0">
                        <a:solidFill>
                          <a:schemeClr val="bg1"/>
                        </a:solidFill>
                        <a:latin typeface="Segoe UI Semibold" charset="0"/>
                        <a:cs typeface="Segoe UI Semibold" charset="0"/>
                      </a:endParaRPr>
                    </a:p>
                  </a:txBody>
                  <a:tcPr marL="89642" marR="89642" marT="44821" marB="44821">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609778207"/>
                  </a:ext>
                </a:extLst>
              </a:tr>
            </a:tbl>
          </a:graphicData>
        </a:graphic>
      </p:graphicFrame>
      <p:graphicFrame>
        <p:nvGraphicFramePr>
          <p:cNvPr id="50" name="Table 49">
            <a:extLst>
              <a:ext uri="{FF2B5EF4-FFF2-40B4-BE49-F238E27FC236}">
                <a16:creationId xmlns:a16="http://schemas.microsoft.com/office/drawing/2014/main" id="{7CEAAB57-11D6-4539-9CFC-2A47D2BA8FC0}"/>
              </a:ext>
            </a:extLst>
          </p:cNvPr>
          <p:cNvGraphicFramePr>
            <a:graphicFrameLocks noGrp="1"/>
          </p:cNvGraphicFramePr>
          <p:nvPr>
            <p:extLst/>
          </p:nvPr>
        </p:nvGraphicFramePr>
        <p:xfrm>
          <a:off x="3144525" y="1636150"/>
          <a:ext cx="2995036" cy="4986847"/>
        </p:xfrm>
        <a:graphic>
          <a:graphicData uri="http://schemas.openxmlformats.org/drawingml/2006/table">
            <a:tbl>
              <a:tblPr firstRow="1" bandRow="1">
                <a:tableStyleId>{5DA37D80-6434-44D0-A028-1B22A696006F}</a:tableStyleId>
              </a:tblPr>
              <a:tblGrid>
                <a:gridCol w="2995036">
                  <a:extLst>
                    <a:ext uri="{9D8B030D-6E8A-4147-A177-3AD203B41FA5}">
                      <a16:colId xmlns:a16="http://schemas.microsoft.com/office/drawing/2014/main" val="3485591923"/>
                    </a:ext>
                  </a:extLst>
                </a:gridCol>
              </a:tblGrid>
              <a:tr h="1284876">
                <a:tc>
                  <a:txBody>
                    <a:bodyPr/>
                    <a:lstStyle/>
                    <a:p>
                      <a:pPr marL="0" indent="0">
                        <a:buNone/>
                      </a:pPr>
                      <a:r>
                        <a:rPr lang="en-US" sz="1600" b="1" cap="all" dirty="0">
                          <a:solidFill>
                            <a:schemeClr val="bg1"/>
                          </a:solidFill>
                          <a:latin typeface="Segoe UI Semilight" panose="020B0402040204020203" pitchFamily="34" charset="0"/>
                          <a:cs typeface="Segoe UI Semilight" panose="020B0402040204020203" pitchFamily="34" charset="0"/>
                        </a:rPr>
                        <a:t>Activity monitoring</a:t>
                      </a:r>
                    </a:p>
                    <a:p>
                      <a:pPr marL="342835" lvl="1" indent="0">
                        <a:buNone/>
                      </a:pPr>
                      <a:r>
                        <a:rPr lang="en-US" sz="1600" kern="0" spc="102" dirty="0">
                          <a:solidFill>
                            <a:srgbClr val="FFFFFF"/>
                          </a:solidFill>
                          <a:latin typeface="Segoe UI Semibold" charset="0"/>
                          <a:cs typeface="Segoe UI Semibold" charset="0"/>
                        </a:rPr>
                        <a:t>Engine Audit</a:t>
                      </a:r>
                    </a:p>
                    <a:p>
                      <a:pPr marL="342835" lvl="1" indent="0">
                        <a:buNone/>
                      </a:pPr>
                      <a:r>
                        <a:rPr lang="en-US" sz="1600" b="1" cap="small" baseline="0" dirty="0">
                          <a:solidFill>
                            <a:srgbClr val="FFFF00"/>
                          </a:solidFill>
                          <a:latin typeface="Segoe UI Semibold" panose="020B0702040204020203" pitchFamily="34" charset="0"/>
                          <a:cs typeface="Segoe UI Semibold" panose="020B0702040204020203" pitchFamily="34" charset="0"/>
                        </a:rPr>
                        <a:t>Threat </a:t>
                      </a:r>
                      <a:r>
                        <a:rPr lang="en-US" sz="1600" b="1" kern="1200" cap="small" baseline="0" dirty="0">
                          <a:solidFill>
                            <a:srgbClr val="FFFF00"/>
                          </a:solidFill>
                          <a:latin typeface="Segoe UI Semibold" panose="020B0702040204020203" pitchFamily="34" charset="0"/>
                          <a:ea typeface="+mn-ea"/>
                          <a:cs typeface="Segoe UI Semibold" panose="020B0702040204020203" pitchFamily="34" charset="0"/>
                        </a:rPr>
                        <a:t>Detection</a:t>
                      </a:r>
                    </a:p>
                    <a:p>
                      <a:pPr marL="342835" lvl="1" indent="0">
                        <a:buNone/>
                      </a:pPr>
                      <a:r>
                        <a:rPr lang="en-US" sz="1600" b="1" kern="1200" cap="small" baseline="0" dirty="0">
                          <a:solidFill>
                            <a:srgbClr val="FFFF00"/>
                          </a:solidFill>
                          <a:latin typeface="Segoe UI Semibold" panose="020B0702040204020203" pitchFamily="34" charset="0"/>
                          <a:ea typeface="+mn-ea"/>
                          <a:cs typeface="Segoe UI Semibold" panose="020B0702040204020203" pitchFamily="34" charset="0"/>
                        </a:rPr>
                        <a:t>Centralized dashboard OMS</a:t>
                      </a:r>
                    </a:p>
                  </a:txBody>
                  <a:tcPr marL="89642" marR="89642" marT="44821" marB="44821">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5241603"/>
                  </a:ext>
                </a:extLst>
              </a:tr>
              <a:tr h="1317603">
                <a:tc>
                  <a:txBody>
                    <a:bodyPr/>
                    <a:lstStyle/>
                    <a:p>
                      <a:pPr marL="0" indent="0">
                        <a:buNone/>
                      </a:pPr>
                      <a:r>
                        <a:rPr lang="en-US" sz="1600" b="1" cap="all" dirty="0">
                          <a:solidFill>
                            <a:schemeClr val="bg1"/>
                          </a:solidFill>
                          <a:latin typeface="Segoe UI Semilight" panose="020B0402040204020203" pitchFamily="34" charset="0"/>
                          <a:cs typeface="Segoe UI Semilight" panose="020B0402040204020203" pitchFamily="34" charset="0"/>
                        </a:rPr>
                        <a:t>Access Control </a:t>
                      </a:r>
                    </a:p>
                    <a:p>
                      <a:pPr marL="241254" lvl="1" indent="0">
                        <a:buNone/>
                      </a:pPr>
                      <a:r>
                        <a:rPr lang="en-US" sz="1600" kern="0" spc="102" dirty="0">
                          <a:solidFill>
                            <a:schemeClr val="bg1"/>
                          </a:solidFill>
                          <a:latin typeface="Segoe UI Semibold" charset="0"/>
                          <a:cs typeface="Segoe UI Semibold" charset="0"/>
                        </a:rPr>
                        <a:t>SQL Firewall</a:t>
                      </a:r>
                    </a:p>
                    <a:p>
                      <a:pPr marL="241254" lvl="1" indent="0">
                        <a:buNone/>
                      </a:pPr>
                      <a:r>
                        <a:rPr lang="en-US" sz="1600" kern="0" spc="102" dirty="0">
                          <a:solidFill>
                            <a:schemeClr val="bg1"/>
                          </a:solidFill>
                          <a:latin typeface="Segoe UI Semibold" charset="0"/>
                          <a:cs typeface="Segoe UI Semibold" charset="0"/>
                        </a:rPr>
                        <a:t>RLS, Dynamic data masking</a:t>
                      </a:r>
                    </a:p>
                    <a:p>
                      <a:pPr marL="241254" marR="0" lvl="1" indent="0" algn="l" defTabSz="932563" rtl="0" eaLnBrk="1" fontAlgn="auto" latinLnBrk="0" hangingPunct="1">
                        <a:lnSpc>
                          <a:spcPct val="100000"/>
                        </a:lnSpc>
                        <a:spcBef>
                          <a:spcPts val="0"/>
                        </a:spcBef>
                        <a:spcAft>
                          <a:spcPts val="0"/>
                        </a:spcAft>
                        <a:buClrTx/>
                        <a:buSzTx/>
                        <a:buFontTx/>
                        <a:buNone/>
                        <a:tabLst/>
                        <a:defRPr/>
                      </a:pPr>
                      <a:r>
                        <a:rPr lang="en-US" sz="1600" b="1" cap="small" baseline="0" dirty="0">
                          <a:solidFill>
                            <a:srgbClr val="FFFF00"/>
                          </a:solidFill>
                          <a:latin typeface="Segoe UI Semibold" panose="020B0702040204020203" pitchFamily="34" charset="0"/>
                          <a:cs typeface="Segoe UI Semibold" panose="020B0702040204020203" pitchFamily="34" charset="0"/>
                        </a:rPr>
                        <a:t>AAD and MFA</a:t>
                      </a:r>
                    </a:p>
                  </a:txBody>
                  <a:tcPr marL="89642" marR="89642" marT="44821" marB="44821">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609778207"/>
                  </a:ext>
                </a:extLst>
              </a:tr>
              <a:tr h="2315764">
                <a:tc>
                  <a:txBody>
                    <a:bodyPr/>
                    <a:lstStyle/>
                    <a:p>
                      <a:pPr marL="0" indent="0">
                        <a:buNone/>
                      </a:pPr>
                      <a:r>
                        <a:rPr lang="en-US" sz="1600" b="1" cap="all" dirty="0">
                          <a:solidFill>
                            <a:schemeClr val="bg1"/>
                          </a:solidFill>
                          <a:latin typeface="Segoe UI Semilight" panose="020B0402040204020203" pitchFamily="34" charset="0"/>
                          <a:cs typeface="Segoe UI Semilight" panose="020B0402040204020203" pitchFamily="34" charset="0"/>
                        </a:rPr>
                        <a:t>Data Protection</a:t>
                      </a:r>
                    </a:p>
                    <a:p>
                      <a:pPr marL="241254" lvl="1" indent="0">
                        <a:buFont typeface="Arial" pitchFamily="34" charset="0"/>
                        <a:buNone/>
                      </a:pPr>
                      <a:r>
                        <a:rPr lang="en-US" sz="1600" kern="0" spc="102" dirty="0">
                          <a:solidFill>
                            <a:srgbClr val="FFFFFF"/>
                          </a:solidFill>
                          <a:latin typeface="Segoe UI Semibold" charset="0"/>
                          <a:cs typeface="Segoe UI Semibold" charset="0"/>
                        </a:rPr>
                        <a:t>Encrypt in motion (TLS)</a:t>
                      </a:r>
                    </a:p>
                    <a:p>
                      <a:pPr marL="241254" marR="0" lvl="1" indent="0" algn="l" defTabSz="932563" rtl="0" eaLnBrk="1" fontAlgn="auto" latinLnBrk="0" hangingPunct="1">
                        <a:lnSpc>
                          <a:spcPct val="100000"/>
                        </a:lnSpc>
                        <a:spcBef>
                          <a:spcPts val="0"/>
                        </a:spcBef>
                        <a:spcAft>
                          <a:spcPts val="0"/>
                        </a:spcAft>
                        <a:buClrTx/>
                        <a:buSzTx/>
                        <a:buFont typeface="Arial" pitchFamily="34" charset="0"/>
                        <a:buNone/>
                        <a:tabLst/>
                        <a:defRPr/>
                      </a:pPr>
                      <a:r>
                        <a:rPr lang="en-US" sz="1600" b="1" cap="none" baseline="0" dirty="0">
                          <a:solidFill>
                            <a:schemeClr val="bg1"/>
                          </a:solidFill>
                          <a:latin typeface="Segoe UI Semibold" panose="020B0702040204020203" pitchFamily="34" charset="0"/>
                          <a:cs typeface="Segoe UI Semibold" panose="020B0702040204020203" pitchFamily="34" charset="0"/>
                        </a:rPr>
                        <a:t>Always Encrypted (equality)</a:t>
                      </a:r>
                      <a:endParaRPr lang="en-US" sz="1600" kern="0" cap="none" spc="102" dirty="0">
                        <a:solidFill>
                          <a:schemeClr val="bg1"/>
                        </a:solidFill>
                        <a:latin typeface="Segoe UI Semibold" charset="0"/>
                        <a:cs typeface="Segoe UI Semibold" charset="0"/>
                      </a:endParaRPr>
                    </a:p>
                    <a:p>
                      <a:pPr marL="241254" lvl="1" indent="0">
                        <a:buNone/>
                      </a:pPr>
                      <a:r>
                        <a:rPr lang="en-US" sz="1600" kern="0" cap="small" spc="102" baseline="0" dirty="0">
                          <a:solidFill>
                            <a:srgbClr val="FFFFFF"/>
                          </a:solidFill>
                          <a:latin typeface="Segoe UI Semibold" charset="0"/>
                          <a:cs typeface="Segoe UI Semibold" charset="0"/>
                        </a:rPr>
                        <a:t>TDE </a:t>
                      </a:r>
                      <a:r>
                        <a:rPr lang="en-US" sz="1600" b="1" cap="small" baseline="0" dirty="0">
                          <a:solidFill>
                            <a:srgbClr val="FFFF00"/>
                          </a:solidFill>
                          <a:latin typeface="Segoe UI Semibold" panose="020B0702040204020203" pitchFamily="34" charset="0"/>
                          <a:cs typeface="Segoe UI Semibold" panose="020B0702040204020203" pitchFamily="34" charset="0"/>
                        </a:rPr>
                        <a:t>&amp; BYK</a:t>
                      </a:r>
                    </a:p>
                    <a:p>
                      <a:pPr marL="241254" lvl="1" indent="0">
                        <a:buNone/>
                      </a:pPr>
                      <a:r>
                        <a:rPr lang="en-US" sz="1600" b="1" cap="small" baseline="0" dirty="0">
                          <a:solidFill>
                            <a:srgbClr val="FFFF00"/>
                          </a:solidFill>
                          <a:latin typeface="Segoe UI Semibold" panose="020B0702040204020203" pitchFamily="34" charset="0"/>
                          <a:cs typeface="Segoe UI Semibold" panose="020B0702040204020203" pitchFamily="34" charset="0"/>
                        </a:rPr>
                        <a:t>Service endpoint</a:t>
                      </a:r>
                    </a:p>
                    <a:p>
                      <a:pPr marL="241254" lvl="1" indent="0">
                        <a:buNone/>
                      </a:pPr>
                      <a:r>
                        <a:rPr lang="en-US" sz="1600" b="1" cap="small" baseline="0" dirty="0">
                          <a:solidFill>
                            <a:srgbClr val="FFFF00"/>
                          </a:solidFill>
                          <a:latin typeface="Segoe UI Semibold" panose="020B0702040204020203" pitchFamily="34" charset="0"/>
                          <a:cs typeface="Segoe UI Semibold" panose="020B0702040204020203" pitchFamily="34" charset="0"/>
                        </a:rPr>
                        <a:t>Always Encrypted (</a:t>
                      </a:r>
                      <a:r>
                        <a:rPr lang="en-US" sz="1600" b="0" cap="small" baseline="0" dirty="0">
                          <a:solidFill>
                            <a:srgbClr val="FFFF00"/>
                          </a:solidFill>
                          <a:latin typeface="Segoe UI Semibold" panose="020B0702040204020203" pitchFamily="34" charset="0"/>
                          <a:cs typeface="Segoe UI Semibold" panose="020B0702040204020203" pitchFamily="34" charset="0"/>
                        </a:rPr>
                        <a:t>secure enclave)</a:t>
                      </a:r>
                      <a:endParaRPr lang="en-US" sz="1600" b="0" kern="0" cap="small" spc="102" baseline="0" dirty="0">
                        <a:solidFill>
                          <a:srgbClr val="FFFFFF"/>
                        </a:solidFill>
                        <a:latin typeface="Segoe UI Semibold" charset="0"/>
                        <a:cs typeface="Segoe UI Semibold" charset="0"/>
                      </a:endParaRPr>
                    </a:p>
                    <a:p>
                      <a:pPr marL="0" indent="0">
                        <a:spcBef>
                          <a:spcPts val="600"/>
                        </a:spcBef>
                        <a:buNone/>
                      </a:pPr>
                      <a:r>
                        <a:rPr lang="en-US" sz="1600" b="1" cap="all" dirty="0">
                          <a:solidFill>
                            <a:schemeClr val="bg1"/>
                          </a:solidFill>
                          <a:latin typeface="Segoe UI Semilight" panose="020B0402040204020203" pitchFamily="34" charset="0"/>
                          <a:cs typeface="Segoe UI Semilight" panose="020B0402040204020203" pitchFamily="34" charset="0"/>
                        </a:rPr>
                        <a:t>Discovery &amp; Assessment</a:t>
                      </a:r>
                    </a:p>
                    <a:p>
                      <a:pPr marL="241254" lvl="1" indent="0">
                        <a:buNone/>
                      </a:pPr>
                      <a:r>
                        <a:rPr lang="en-US" sz="1600" b="1" kern="1200" cap="small" baseline="0" dirty="0">
                          <a:solidFill>
                            <a:srgbClr val="FFFF00"/>
                          </a:solidFill>
                          <a:latin typeface="Segoe UI Semibold" panose="020B0702040204020203" pitchFamily="34" charset="0"/>
                          <a:ea typeface="+mn-ea"/>
                          <a:cs typeface="Segoe UI Semibold" panose="020B0702040204020203" pitchFamily="34" charset="0"/>
                        </a:rPr>
                        <a:t>Vulnerability assessment</a:t>
                      </a:r>
                    </a:p>
                  </a:txBody>
                  <a:tcPr marL="89642" marR="89642" marT="44821" marB="44821">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5018111"/>
                  </a:ext>
                </a:extLst>
              </a:tr>
            </a:tbl>
          </a:graphicData>
        </a:graphic>
      </p:graphicFrame>
      <p:graphicFrame>
        <p:nvGraphicFramePr>
          <p:cNvPr id="58" name="Table 57">
            <a:extLst>
              <a:ext uri="{FF2B5EF4-FFF2-40B4-BE49-F238E27FC236}">
                <a16:creationId xmlns:a16="http://schemas.microsoft.com/office/drawing/2014/main" id="{FEFA4728-40BA-442A-9B14-C8BBA3AF46B0}"/>
              </a:ext>
            </a:extLst>
          </p:cNvPr>
          <p:cNvGraphicFramePr>
            <a:graphicFrameLocks noGrp="1"/>
          </p:cNvGraphicFramePr>
          <p:nvPr>
            <p:extLst>
              <p:ext uri="{D42A27DB-BD31-4B8C-83A1-F6EECF244321}">
                <p14:modId xmlns:p14="http://schemas.microsoft.com/office/powerpoint/2010/main" val="3902255059"/>
              </p:ext>
            </p:extLst>
          </p:nvPr>
        </p:nvGraphicFramePr>
        <p:xfrm>
          <a:off x="6205711" y="1644239"/>
          <a:ext cx="3024873" cy="4970668"/>
        </p:xfrm>
        <a:graphic>
          <a:graphicData uri="http://schemas.openxmlformats.org/drawingml/2006/table">
            <a:tbl>
              <a:tblPr firstRow="1" bandRow="1">
                <a:tableStyleId>{5DA37D80-6434-44D0-A028-1B22A696006F}</a:tableStyleId>
              </a:tblPr>
              <a:tblGrid>
                <a:gridCol w="3024873">
                  <a:extLst>
                    <a:ext uri="{9D8B030D-6E8A-4147-A177-3AD203B41FA5}">
                      <a16:colId xmlns:a16="http://schemas.microsoft.com/office/drawing/2014/main" val="3485591923"/>
                    </a:ext>
                  </a:extLst>
                </a:gridCol>
              </a:tblGrid>
              <a:tr h="1282628">
                <a:tc>
                  <a:txBody>
                    <a:bodyPr/>
                    <a:lstStyle/>
                    <a:p>
                      <a:pPr marL="0" indent="0">
                        <a:buNone/>
                      </a:pPr>
                      <a:r>
                        <a:rPr lang="en-US" sz="1600" b="1" cap="all" dirty="0">
                          <a:solidFill>
                            <a:schemeClr val="bg1"/>
                          </a:solidFill>
                          <a:latin typeface="Segoe UI Semilight" panose="020B0402040204020203" pitchFamily="34" charset="0"/>
                          <a:cs typeface="Segoe UI Semilight" panose="020B0402040204020203" pitchFamily="34" charset="0"/>
                        </a:rPr>
                        <a:t>HA-DR built-in</a:t>
                      </a:r>
                    </a:p>
                    <a:p>
                      <a:pPr marL="241254" lvl="1" indent="0">
                        <a:buNone/>
                      </a:pPr>
                      <a:r>
                        <a:rPr lang="en-US" sz="1600" kern="0" spc="102" dirty="0">
                          <a:solidFill>
                            <a:srgbClr val="FFFFFF"/>
                          </a:solidFill>
                          <a:latin typeface="Segoe UI Semibold" charset="0"/>
                          <a:cs typeface="Segoe UI Semibold" charset="0"/>
                        </a:rPr>
                        <a:t>99.99% SLA </a:t>
                      </a:r>
                    </a:p>
                    <a:p>
                      <a:pPr marL="241254" lvl="1" indent="0">
                        <a:buNone/>
                      </a:pPr>
                      <a:r>
                        <a:rPr lang="en-US" sz="1600" kern="0" spc="102" dirty="0">
                          <a:solidFill>
                            <a:srgbClr val="FFFFFF"/>
                          </a:solidFill>
                          <a:latin typeface="Segoe UI Semibold" charset="0"/>
                          <a:cs typeface="Segoe UI Semibold" charset="0"/>
                        </a:rPr>
                        <a:t>Geo-restore</a:t>
                      </a:r>
                    </a:p>
                    <a:p>
                      <a:pPr marL="241254" lvl="1" indent="0">
                        <a:buNone/>
                      </a:pPr>
                      <a:r>
                        <a:rPr lang="en-US" sz="1600" b="1" kern="1200" cap="small" baseline="0" dirty="0">
                          <a:solidFill>
                            <a:srgbClr val="FFFF00"/>
                          </a:solidFill>
                          <a:latin typeface="Segoe UI Semibold" panose="020B0702040204020203" pitchFamily="34" charset="0"/>
                          <a:ea typeface="+mn-ea"/>
                          <a:cs typeface="Segoe UI Semibold" panose="020B0702040204020203" pitchFamily="34" charset="0"/>
                        </a:rPr>
                        <a:t>Active Geo replicas (4)</a:t>
                      </a:r>
                    </a:p>
                    <a:p>
                      <a:pPr marL="241254" lvl="1" indent="0">
                        <a:buNone/>
                      </a:pPr>
                      <a:r>
                        <a:rPr lang="en-US" sz="1600" b="1" kern="1200" cap="small" baseline="0" dirty="0">
                          <a:solidFill>
                            <a:srgbClr val="FFFF00"/>
                          </a:solidFill>
                          <a:latin typeface="Segoe UI Semibold" panose="020B0702040204020203" pitchFamily="34" charset="0"/>
                          <a:ea typeface="+mn-ea"/>
                          <a:cs typeface="Segoe UI Semibold" panose="020B0702040204020203" pitchFamily="34" charset="0"/>
                        </a:rPr>
                        <a:t>Multi-AZ</a:t>
                      </a:r>
                    </a:p>
                  </a:txBody>
                  <a:tcPr marL="89642" marR="89642" marT="44821" marB="44821">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5241603"/>
                  </a:ext>
                </a:extLst>
              </a:tr>
              <a:tr h="1282628">
                <a:tc>
                  <a:txBody>
                    <a:bodyPr/>
                    <a:lstStyle/>
                    <a:p>
                      <a:pPr marL="0" indent="0">
                        <a:buNone/>
                      </a:pPr>
                      <a:r>
                        <a:rPr lang="en-US" sz="1600" b="1" cap="all" dirty="0">
                          <a:solidFill>
                            <a:schemeClr val="bg1"/>
                          </a:solidFill>
                          <a:latin typeface="Segoe UI Semilight" panose="020B0402040204020203" pitchFamily="34" charset="0"/>
                          <a:cs typeface="Segoe UI Semilight" panose="020B0402040204020203" pitchFamily="34" charset="0"/>
                        </a:rPr>
                        <a:t>Backup and restore</a:t>
                      </a:r>
                    </a:p>
                    <a:p>
                      <a:pPr marL="241254" lvl="1" indent="0">
                        <a:buNone/>
                      </a:pPr>
                      <a:r>
                        <a:rPr lang="en-US" sz="1600" kern="0" spc="102" dirty="0">
                          <a:solidFill>
                            <a:schemeClr val="bg1"/>
                          </a:solidFill>
                          <a:latin typeface="Segoe UI Semibold" charset="0"/>
                          <a:cs typeface="Segoe UI Semibold" charset="0"/>
                        </a:rPr>
                        <a:t>Backup with health check</a:t>
                      </a:r>
                    </a:p>
                    <a:p>
                      <a:pPr marL="241254" lvl="1" indent="0">
                        <a:buNone/>
                      </a:pPr>
                      <a:r>
                        <a:rPr lang="en-US" sz="1600" kern="0" spc="102" dirty="0">
                          <a:solidFill>
                            <a:schemeClr val="bg1"/>
                          </a:solidFill>
                          <a:latin typeface="Segoe UI Semibold" charset="0"/>
                          <a:cs typeface="Segoe UI Semibold" charset="0"/>
                        </a:rPr>
                        <a:t>35 days PITR</a:t>
                      </a:r>
                    </a:p>
                    <a:p>
                      <a:pPr marL="241254" marR="0" lvl="1" indent="0" algn="l" defTabSz="932563" rtl="0" eaLnBrk="1" fontAlgn="auto" latinLnBrk="0" hangingPunct="1">
                        <a:lnSpc>
                          <a:spcPct val="100000"/>
                        </a:lnSpc>
                        <a:spcBef>
                          <a:spcPts val="0"/>
                        </a:spcBef>
                        <a:spcAft>
                          <a:spcPts val="0"/>
                        </a:spcAft>
                        <a:buClrTx/>
                        <a:buSzTx/>
                        <a:buFontTx/>
                        <a:buNone/>
                        <a:tabLst/>
                        <a:defRPr/>
                      </a:pPr>
                      <a:r>
                        <a:rPr lang="en-US" sz="1600" b="1" kern="1200" cap="small" baseline="0" dirty="0">
                          <a:solidFill>
                            <a:srgbClr val="FFFF00"/>
                          </a:solidFill>
                          <a:latin typeface="Segoe UI Semibold" panose="020B0702040204020203" pitchFamily="34" charset="0"/>
                          <a:ea typeface="+mn-ea"/>
                          <a:cs typeface="Segoe UI Semibold" panose="020B0702040204020203" pitchFamily="34" charset="0"/>
                        </a:rPr>
                        <a:t>10 years data retention</a:t>
                      </a:r>
                    </a:p>
                  </a:txBody>
                  <a:tcPr marL="89642" marR="89642" marT="44821" marB="44821">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609778207"/>
                  </a:ext>
                </a:extLst>
              </a:tr>
              <a:tr h="2352984">
                <a:tc>
                  <a:txBody>
                    <a:bodyPr/>
                    <a:lstStyle/>
                    <a:p>
                      <a:pPr marL="0" indent="0">
                        <a:buNone/>
                      </a:pPr>
                      <a:r>
                        <a:rPr lang="en-US" sz="1600" b="1" cap="all" dirty="0">
                          <a:solidFill>
                            <a:schemeClr val="bg1"/>
                          </a:solidFill>
                          <a:latin typeface="Segoe UI Semilight" panose="020B0402040204020203" pitchFamily="34" charset="0"/>
                          <a:cs typeface="Segoe UI Semilight" panose="020B0402040204020203" pitchFamily="34" charset="0"/>
                        </a:rPr>
                        <a:t>Distributed application</a:t>
                      </a:r>
                    </a:p>
                    <a:p>
                      <a:pPr marL="241254" lvl="1" indent="0">
                        <a:buNone/>
                      </a:pPr>
                      <a:r>
                        <a:rPr lang="en-US" sz="1600" kern="0" spc="102" dirty="0">
                          <a:solidFill>
                            <a:srgbClr val="FFFFFF"/>
                          </a:solidFill>
                          <a:latin typeface="Segoe UI Semibold" charset="0"/>
                          <a:cs typeface="Segoe UI Semibold" charset="0"/>
                        </a:rPr>
                        <a:t>Change Tracking</a:t>
                      </a:r>
                    </a:p>
                    <a:p>
                      <a:pPr marL="241254" lvl="1" indent="0">
                        <a:buNone/>
                      </a:pPr>
                      <a:r>
                        <a:rPr lang="en-US" sz="1600" b="1" kern="1200" cap="small" baseline="0" dirty="0">
                          <a:solidFill>
                            <a:srgbClr val="FFFF00"/>
                          </a:solidFill>
                          <a:latin typeface="Segoe UI Semibold" panose="020B0702040204020203" pitchFamily="34" charset="0"/>
                          <a:ea typeface="+mn-ea"/>
                          <a:cs typeface="Segoe UI Semibold" panose="020B0702040204020203" pitchFamily="34" charset="0"/>
                        </a:rPr>
                        <a:t>Transaction replication</a:t>
                      </a:r>
                    </a:p>
                    <a:p>
                      <a:pPr marL="241254" lvl="1" indent="0">
                        <a:buNone/>
                      </a:pPr>
                      <a:r>
                        <a:rPr lang="en-US" sz="1600" b="1" kern="1200" cap="small" baseline="0" dirty="0">
                          <a:solidFill>
                            <a:srgbClr val="FFFF00"/>
                          </a:solidFill>
                          <a:latin typeface="Segoe UI Semibold" panose="020B0702040204020203" pitchFamily="34" charset="0"/>
                          <a:ea typeface="+mn-ea"/>
                          <a:cs typeface="Segoe UI Semibold" panose="020B0702040204020203" pitchFamily="34" charset="0"/>
                        </a:rPr>
                        <a:t>Data sync </a:t>
                      </a:r>
                    </a:p>
                    <a:p>
                      <a:pPr marL="241254" lvl="1" indent="0">
                        <a:buNone/>
                      </a:pPr>
                      <a:r>
                        <a:rPr lang="en-US" sz="1600" b="1" kern="1200" cap="small" baseline="0" dirty="0">
                          <a:solidFill>
                            <a:srgbClr val="FFFF00"/>
                          </a:solidFill>
                          <a:latin typeface="Segoe UI Semibold" panose="020B0702040204020203" pitchFamily="34" charset="0"/>
                          <a:ea typeface="+mn-ea"/>
                          <a:cs typeface="Segoe UI Semibold" panose="020B0702040204020203" pitchFamily="34" charset="0"/>
                        </a:rPr>
                        <a:t>SSIS service</a:t>
                      </a:r>
                    </a:p>
                    <a:p>
                      <a:pPr marL="241254" lvl="1" indent="0">
                        <a:buNone/>
                      </a:pPr>
                      <a:r>
                        <a:rPr lang="en-US" sz="1600" b="1" kern="1200" cap="small" spc="102" baseline="0" dirty="0">
                          <a:solidFill>
                            <a:srgbClr val="FFFF00"/>
                          </a:solidFill>
                          <a:latin typeface="Segoe UI Semibold" panose="020B0702040204020203" pitchFamily="34" charset="0"/>
                          <a:ea typeface="+mn-ea"/>
                          <a:cs typeface="Segoe UI Semibold" panose="020B0702040204020203" pitchFamily="34" charset="0"/>
                        </a:rPr>
                        <a:t>Managed Instance</a:t>
                      </a:r>
                    </a:p>
                    <a:p>
                      <a:pPr marL="241254" lvl="1" indent="0">
                        <a:buNone/>
                      </a:pPr>
                      <a:r>
                        <a:rPr lang="en-US" sz="1600" b="1" kern="1200" cap="small" spc="102" baseline="0" dirty="0">
                          <a:solidFill>
                            <a:srgbClr val="FFFF00"/>
                          </a:solidFill>
                          <a:latin typeface="Segoe UI Semibold" panose="020B0702040204020203" pitchFamily="34" charset="0"/>
                          <a:ea typeface="+mn-ea"/>
                          <a:cs typeface="Segoe UI Semibold" panose="020B0702040204020203" pitchFamily="34" charset="0"/>
                        </a:rPr>
                        <a:t>Data Migration Service</a:t>
                      </a:r>
                      <a:endParaRPr lang="en-US" sz="1600" kern="0" spc="102" dirty="0">
                        <a:solidFill>
                          <a:srgbClr val="FFFFFF"/>
                        </a:solidFill>
                        <a:latin typeface="Segoe UI Semibold" charset="0"/>
                        <a:cs typeface="Segoe UI Semibold" charset="0"/>
                      </a:endParaRPr>
                    </a:p>
                  </a:txBody>
                  <a:tcPr marL="89642" marR="89642" marT="44821" marB="44821">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5018111"/>
                  </a:ext>
                </a:extLst>
              </a:tr>
            </a:tbl>
          </a:graphicData>
        </a:graphic>
      </p:graphicFrame>
      <p:graphicFrame>
        <p:nvGraphicFramePr>
          <p:cNvPr id="71" name="Table 70">
            <a:extLst>
              <a:ext uri="{FF2B5EF4-FFF2-40B4-BE49-F238E27FC236}">
                <a16:creationId xmlns:a16="http://schemas.microsoft.com/office/drawing/2014/main" id="{59291180-1DD4-4AFC-ADFB-A22D7CFBF6D6}"/>
              </a:ext>
            </a:extLst>
          </p:cNvPr>
          <p:cNvGraphicFramePr>
            <a:graphicFrameLocks noGrp="1"/>
          </p:cNvGraphicFramePr>
          <p:nvPr>
            <p:extLst/>
          </p:nvPr>
        </p:nvGraphicFramePr>
        <p:xfrm>
          <a:off x="9298172" y="1633566"/>
          <a:ext cx="2773994" cy="4920827"/>
        </p:xfrm>
        <a:graphic>
          <a:graphicData uri="http://schemas.openxmlformats.org/drawingml/2006/table">
            <a:tbl>
              <a:tblPr firstRow="1" bandRow="1">
                <a:tableStyleId>{5DA37D80-6434-44D0-A028-1B22A696006F}</a:tableStyleId>
              </a:tblPr>
              <a:tblGrid>
                <a:gridCol w="2773994">
                  <a:extLst>
                    <a:ext uri="{9D8B030D-6E8A-4147-A177-3AD203B41FA5}">
                      <a16:colId xmlns:a16="http://schemas.microsoft.com/office/drawing/2014/main" val="3485591923"/>
                    </a:ext>
                  </a:extLst>
                </a:gridCol>
              </a:tblGrid>
              <a:tr h="2772333">
                <a:tc>
                  <a:txBody>
                    <a:bodyPr/>
                    <a:lstStyle/>
                    <a:p>
                      <a:pPr marL="0" indent="0">
                        <a:buNone/>
                      </a:pPr>
                      <a:r>
                        <a:rPr lang="en-US" sz="1600" b="1" cap="all" dirty="0">
                          <a:solidFill>
                            <a:schemeClr val="bg1"/>
                          </a:solidFill>
                          <a:latin typeface="Segoe UI Semilight" panose="020B0402040204020203" pitchFamily="34" charset="0"/>
                          <a:cs typeface="Segoe UI Semilight" panose="020B0402040204020203" pitchFamily="34" charset="0"/>
                        </a:rPr>
                        <a:t>Biz model &amp; SKUs</a:t>
                      </a:r>
                    </a:p>
                    <a:p>
                      <a:pPr marL="342835" lvl="1" indent="0">
                        <a:buNone/>
                      </a:pPr>
                      <a:r>
                        <a:rPr lang="en-US" sz="1600" kern="0" spc="102" dirty="0">
                          <a:solidFill>
                            <a:srgbClr val="FFFFFF"/>
                          </a:solidFill>
                          <a:latin typeface="Segoe UI Semibold" charset="0"/>
                          <a:cs typeface="Segoe UI Semibold" charset="0"/>
                        </a:rPr>
                        <a:t>DTU/</a:t>
                      </a:r>
                      <a:r>
                        <a:rPr lang="en-US" sz="1600" kern="0" spc="102" dirty="0" err="1">
                          <a:solidFill>
                            <a:srgbClr val="FFFFFF"/>
                          </a:solidFill>
                          <a:latin typeface="Segoe UI Semibold" charset="0"/>
                          <a:cs typeface="Segoe UI Semibold" charset="0"/>
                        </a:rPr>
                        <a:t>eDTU</a:t>
                      </a:r>
                      <a:r>
                        <a:rPr lang="en-US" sz="1600" kern="0" spc="102" dirty="0">
                          <a:solidFill>
                            <a:srgbClr val="FFFFFF"/>
                          </a:solidFill>
                          <a:latin typeface="Segoe UI Semibold" charset="0"/>
                          <a:cs typeface="Segoe UI Semibold" charset="0"/>
                        </a:rPr>
                        <a:t> </a:t>
                      </a:r>
                    </a:p>
                    <a:p>
                      <a:pPr marL="342835" lvl="1" indent="0">
                        <a:buNone/>
                      </a:pPr>
                      <a:r>
                        <a:rPr lang="en-US" sz="1600" kern="0" spc="102" dirty="0">
                          <a:solidFill>
                            <a:srgbClr val="FFFFFF"/>
                          </a:solidFill>
                          <a:latin typeface="Segoe UI Semibold" charset="0"/>
                          <a:cs typeface="Segoe UI Semibold" charset="0"/>
                        </a:rPr>
                        <a:t>&lt;=1TB</a:t>
                      </a:r>
                    </a:p>
                    <a:p>
                      <a:pPr marL="342835" lvl="1" indent="0">
                        <a:buNone/>
                      </a:pPr>
                      <a:r>
                        <a:rPr lang="en-US" sz="1600" b="1" kern="1200" cap="small" baseline="0" dirty="0">
                          <a:solidFill>
                            <a:srgbClr val="FFFF00"/>
                          </a:solidFill>
                          <a:latin typeface="Segoe UI Semibold" panose="020B0702040204020203" pitchFamily="34" charset="0"/>
                          <a:ea typeface="+mn-ea"/>
                          <a:cs typeface="Segoe UI Semibold" panose="020B0702040204020203" pitchFamily="34" charset="0"/>
                        </a:rPr>
                        <a:t>Bigger </a:t>
                      </a:r>
                      <a:r>
                        <a:rPr lang="en-US" sz="1600" b="1" kern="1200" cap="small" baseline="0" dirty="0" err="1">
                          <a:solidFill>
                            <a:srgbClr val="FFFF00"/>
                          </a:solidFill>
                          <a:latin typeface="Segoe UI Semibold" panose="020B0702040204020203" pitchFamily="34" charset="0"/>
                          <a:ea typeface="+mn-ea"/>
                          <a:cs typeface="Segoe UI Semibold" panose="020B0702040204020203" pitchFamily="34" charset="0"/>
                        </a:rPr>
                        <a:t>std</a:t>
                      </a:r>
                      <a:r>
                        <a:rPr lang="en-US" sz="1600" b="1" kern="1200" cap="small" baseline="0" dirty="0">
                          <a:solidFill>
                            <a:srgbClr val="FFFF00"/>
                          </a:solidFill>
                          <a:latin typeface="Segoe UI Semibold" panose="020B0702040204020203" pitchFamily="34" charset="0"/>
                          <a:ea typeface="+mn-ea"/>
                          <a:cs typeface="Segoe UI Semibold" panose="020B0702040204020203" pitchFamily="34" charset="0"/>
                        </a:rPr>
                        <a:t>: S4-S12</a:t>
                      </a:r>
                    </a:p>
                    <a:p>
                      <a:pPr marL="342835" lvl="1" indent="0">
                        <a:buNone/>
                      </a:pPr>
                      <a:r>
                        <a:rPr lang="en-US" sz="1600" b="1" kern="1200" cap="small" baseline="0" dirty="0">
                          <a:solidFill>
                            <a:srgbClr val="FFFF00"/>
                          </a:solidFill>
                          <a:latin typeface="Segoe UI Semibold" panose="020B0702040204020203" pitchFamily="34" charset="0"/>
                          <a:ea typeface="+mn-ea"/>
                          <a:cs typeface="Segoe UI Semibold" panose="020B0702040204020203" pitchFamily="34" charset="0"/>
                        </a:rPr>
                        <a:t>Separate compute and storage</a:t>
                      </a:r>
                    </a:p>
                    <a:p>
                      <a:pPr marL="342835" lvl="1" indent="0">
                        <a:buNone/>
                      </a:pPr>
                      <a:r>
                        <a:rPr lang="en-US" sz="1600" b="1" kern="1200" cap="small" baseline="0" dirty="0">
                          <a:solidFill>
                            <a:srgbClr val="FFFF00"/>
                          </a:solidFill>
                          <a:latin typeface="Segoe UI Semibold" panose="020B0702040204020203" pitchFamily="34" charset="0"/>
                          <a:ea typeface="+mn-ea"/>
                          <a:cs typeface="Segoe UI Semibold" panose="020B0702040204020203" pitchFamily="34" charset="0"/>
                        </a:rPr>
                        <a:t>Azure hybrid benefit</a:t>
                      </a:r>
                    </a:p>
                    <a:p>
                      <a:pPr lvl="1"/>
                      <a:endParaRPr lang="en-US" sz="400" dirty="0">
                        <a:solidFill>
                          <a:schemeClr val="bg1"/>
                        </a:solidFill>
                      </a:endParaRPr>
                    </a:p>
                    <a:p>
                      <a:pPr marL="0" indent="0">
                        <a:buNone/>
                      </a:pPr>
                      <a:r>
                        <a:rPr lang="en-US" sz="1600" b="1" cap="all" dirty="0">
                          <a:solidFill>
                            <a:schemeClr val="bg1"/>
                          </a:solidFill>
                          <a:latin typeface="Segoe UI Semilight" panose="020B0402040204020203" pitchFamily="34" charset="0"/>
                          <a:cs typeface="Segoe UI Semilight" panose="020B0402040204020203" pitchFamily="34" charset="0"/>
                        </a:rPr>
                        <a:t>Cost optimization</a:t>
                      </a:r>
                    </a:p>
                    <a:p>
                      <a:pPr marL="0" indent="0">
                        <a:buNone/>
                      </a:pPr>
                      <a:r>
                        <a:rPr lang="en-US" sz="1600" b="1" kern="1200" cap="all" baseline="0" dirty="0">
                          <a:solidFill>
                            <a:schemeClr val="bg1"/>
                          </a:solidFill>
                          <a:latin typeface="Segoe UI Semilight" panose="020B0402040204020203" pitchFamily="34" charset="0"/>
                          <a:ea typeface="+mn-ea"/>
                          <a:cs typeface="Segoe UI Semilight" panose="020B0402040204020203" pitchFamily="34" charset="0"/>
                        </a:rPr>
                        <a:t>      </a:t>
                      </a:r>
                      <a:r>
                        <a:rPr lang="en-US" sz="1600" b="1" kern="1200" cap="small" baseline="0" dirty="0">
                          <a:solidFill>
                            <a:srgbClr val="FFFF00"/>
                          </a:solidFill>
                          <a:latin typeface="Segoe UI Semibold" panose="020B0702040204020203" pitchFamily="34" charset="0"/>
                          <a:ea typeface="+mn-ea"/>
                          <a:cs typeface="Segoe UI Semibold" panose="020B0702040204020203" pitchFamily="34" charset="0"/>
                        </a:rPr>
                        <a:t>Intelligent PaaS</a:t>
                      </a:r>
                    </a:p>
                    <a:p>
                      <a:endParaRPr lang="en-US" sz="1700" dirty="0"/>
                    </a:p>
                  </a:txBody>
                  <a:tcPr marL="89642" marR="89642" marT="44821" marB="44821">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835241603"/>
                  </a:ext>
                </a:extLst>
              </a:tr>
              <a:tr h="2148494">
                <a:tc>
                  <a:txBody>
                    <a:bodyPr/>
                    <a:lstStyle/>
                    <a:p>
                      <a:endParaRPr lang="en-US" sz="1700" dirty="0"/>
                    </a:p>
                  </a:txBody>
                  <a:tcPr marL="89642" marR="89642" marT="44821" marB="44821">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24581360"/>
                  </a:ext>
                </a:extLst>
              </a:tr>
            </a:tbl>
          </a:graphicData>
        </a:graphic>
      </p:graphicFrame>
      <p:grpSp>
        <p:nvGrpSpPr>
          <p:cNvPr id="9" name="Group 8">
            <a:extLst>
              <a:ext uri="{FF2B5EF4-FFF2-40B4-BE49-F238E27FC236}">
                <a16:creationId xmlns:a16="http://schemas.microsoft.com/office/drawing/2014/main" id="{CE45AEC5-2B39-4AA3-98E0-034119E6C40D}"/>
              </a:ext>
            </a:extLst>
          </p:cNvPr>
          <p:cNvGrpSpPr/>
          <p:nvPr/>
        </p:nvGrpSpPr>
        <p:grpSpPr>
          <a:xfrm>
            <a:off x="6236986" y="5483089"/>
            <a:ext cx="2907014" cy="342122"/>
            <a:chOff x="6236986" y="5517502"/>
            <a:chExt cx="2907014" cy="289001"/>
          </a:xfrm>
        </p:grpSpPr>
        <p:sp>
          <p:nvSpPr>
            <p:cNvPr id="47" name="Rectangle 46">
              <a:extLst>
                <a:ext uri="{FF2B5EF4-FFF2-40B4-BE49-F238E27FC236}">
                  <a16:creationId xmlns:a16="http://schemas.microsoft.com/office/drawing/2014/main" id="{384C6FB2-F117-4E83-956E-CCD2C620E465}"/>
                </a:ext>
              </a:extLst>
            </p:cNvPr>
            <p:cNvSpPr/>
            <p:nvPr/>
          </p:nvSpPr>
          <p:spPr bwMode="auto">
            <a:xfrm>
              <a:off x="6236986" y="5517502"/>
              <a:ext cx="2907014" cy="237376"/>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600" b="1" cap="all" spc="102" dirty="0">
                <a:solidFill>
                  <a:srgbClr val="FFFF00"/>
                </a:solidFill>
                <a:latin typeface="Segoe UI Black" panose="020B0A02040204020203" pitchFamily="34" charset="0"/>
                <a:cs typeface="Segoe UI Semibold" panose="020B0702040204020203" pitchFamily="34" charset="0"/>
              </a:endParaRPr>
            </a:p>
          </p:txBody>
        </p:sp>
        <p:sp>
          <p:nvSpPr>
            <p:cNvPr id="46" name="Rectangle 45">
              <a:extLst>
                <a:ext uri="{FF2B5EF4-FFF2-40B4-BE49-F238E27FC236}">
                  <a16:creationId xmlns:a16="http://schemas.microsoft.com/office/drawing/2014/main" id="{512EE099-0359-48FC-9360-023E547747C4}"/>
                </a:ext>
              </a:extLst>
            </p:cNvPr>
            <p:cNvSpPr/>
            <p:nvPr/>
          </p:nvSpPr>
          <p:spPr bwMode="auto">
            <a:xfrm>
              <a:off x="6551901" y="5517502"/>
              <a:ext cx="2408423" cy="2890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600" b="1" cap="all" spc="102" dirty="0">
                  <a:solidFill>
                    <a:srgbClr val="FFFF00"/>
                  </a:solidFill>
                  <a:latin typeface="Segoe UI Black" panose="020B0A02040204020203" pitchFamily="34" charset="0"/>
                  <a:cs typeface="Segoe UI Semibold" panose="020B0702040204020203" pitchFamily="34" charset="0"/>
                </a:rPr>
                <a:t>Managed Instance</a:t>
              </a:r>
            </a:p>
          </p:txBody>
        </p:sp>
      </p:grpSp>
    </p:spTree>
    <p:extLst>
      <p:ext uri="{BB962C8B-B14F-4D97-AF65-F5344CB8AC3E}">
        <p14:creationId xmlns:p14="http://schemas.microsoft.com/office/powerpoint/2010/main" val="38040692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heme/theme1.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2.xml><?xml version="1.0" encoding="utf-8"?>
<a:theme xmlns:a="http://schemas.openxmlformats.org/drawingml/2006/main" name="SQL Server 2017">
  <a:themeElements>
    <a:clrScheme name="Custom 41">
      <a:dk1>
        <a:srgbClr val="000000"/>
      </a:dk1>
      <a:lt1>
        <a:srgbClr val="FFFFFF"/>
      </a:lt1>
      <a:dk2>
        <a:srgbClr val="0078D7"/>
      </a:dk2>
      <a:lt2>
        <a:srgbClr val="D2D2D2"/>
      </a:lt2>
      <a:accent1>
        <a:srgbClr val="002050"/>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3.xml><?xml version="1.0" encoding="utf-8"?>
<a:theme xmlns:a="http://schemas.openxmlformats.org/drawingml/2006/main" name="5-30664_S4_Q1_FY16_Light_Template">
  <a:themeElements>
    <a:clrScheme name="Custom 40">
      <a:dk1>
        <a:srgbClr val="00000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89CAF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4.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5.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348C9CB426DE043A31D6E06FCC5AAA5" ma:contentTypeVersion="6" ma:contentTypeDescription="Create a new document." ma:contentTypeScope="" ma:versionID="303dd15ed4dedf67ced8dd57bdaaa8f1">
  <xsd:schema xmlns:xsd="http://www.w3.org/2001/XMLSchema" xmlns:xs="http://www.w3.org/2001/XMLSchema" xmlns:p="http://schemas.microsoft.com/office/2006/metadata/properties" xmlns:ns2="4be92670-059b-491e-ba17-541e85129569" xmlns:ns3="1fba15f1-00c2-4d0c-9671-c9f3b9182315" targetNamespace="http://schemas.microsoft.com/office/2006/metadata/properties" ma:root="true" ma:fieldsID="dc62dc807b1765529cb281eff19462a0" ns2:_="" ns3:_="">
    <xsd:import namespace="4be92670-059b-491e-ba17-541e85129569"/>
    <xsd:import namespace="1fba15f1-00c2-4d0c-9671-c9f3b918231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e92670-059b-491e-ba17-541e85129569"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fba15f1-00c2-4d0c-9671-c9f3b9182315"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hidden="true" ma:internalName="LastSharedByUser" ma:readOnly="true">
      <xsd:simpleType>
        <xsd:restriction base="dms:Note"/>
      </xsd:simpleType>
    </xsd:element>
    <xsd:element name="LastSharedByTime" ma:index="13"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1018208-8004-4CED-BF44-ED368E32B811}">
  <ds:schemaRefs>
    <ds:schemaRef ds:uri="http://schemas.microsoft.com/sharepoint/v3/contenttype/forms"/>
  </ds:schemaRefs>
</ds:datastoreItem>
</file>

<file path=customXml/itemProps2.xml><?xml version="1.0" encoding="utf-8"?>
<ds:datastoreItem xmlns:ds="http://schemas.openxmlformats.org/officeDocument/2006/customXml" ds:itemID="{1E91DBAA-73B1-46DE-A02B-B400BCCAEA24}">
  <ds:schemaRef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1fba15f1-00c2-4d0c-9671-c9f3b9182315"/>
    <ds:schemaRef ds:uri="http://purl.org/dc/terms/"/>
    <ds:schemaRef ds:uri="4be92670-059b-491e-ba17-541e85129569"/>
    <ds:schemaRef ds:uri="http://www.w3.org/XML/1998/namespace"/>
  </ds:schemaRefs>
</ds:datastoreItem>
</file>

<file path=customXml/itemProps3.xml><?xml version="1.0" encoding="utf-8"?>
<ds:datastoreItem xmlns:ds="http://schemas.openxmlformats.org/officeDocument/2006/customXml" ds:itemID="{3F854DEF-18DE-4DDF-AD0B-8AA4A093B5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e92670-059b-491e-ba17-541e85129569"/>
    <ds:schemaRef ds:uri="1fba15f1-00c2-4d0c-9671-c9f3b91823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50</TotalTime>
  <Words>2951</Words>
  <Application>Microsoft Office PowerPoint</Application>
  <PresentationFormat>Widescreen</PresentationFormat>
  <Paragraphs>493</Paragraphs>
  <Slides>32</Slides>
  <Notes>32</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32</vt:i4>
      </vt:variant>
    </vt:vector>
  </HeadingPairs>
  <TitlesOfParts>
    <vt:vector size="48" baseType="lpstr">
      <vt:lpstr>MS PGothic</vt:lpstr>
      <vt:lpstr>Arial</vt:lpstr>
      <vt:lpstr>Calibri</vt:lpstr>
      <vt:lpstr>Consolas</vt:lpstr>
      <vt:lpstr>Segoe UI</vt:lpstr>
      <vt:lpstr>Segoe UI Black</vt:lpstr>
      <vt:lpstr>Segoe UI Light</vt:lpstr>
      <vt:lpstr>Segoe UI Semibold</vt:lpstr>
      <vt:lpstr>Segoe UI Semilight</vt:lpstr>
      <vt:lpstr>Wingdings</vt:lpstr>
      <vt:lpstr>C+E Readiness Template</vt:lpstr>
      <vt:lpstr>SQL Server 2017</vt:lpstr>
      <vt:lpstr>5-30664_S4_Q1_FY16_Light_Template</vt:lpstr>
      <vt:lpstr>5-50109_Microsoft_Light_Template</vt:lpstr>
      <vt:lpstr>USETHIS_1_6-50001_WPC 2016 Keynote Template</vt:lpstr>
      <vt:lpstr>CorelDRAW</vt:lpstr>
      <vt:lpstr>PowerPoint Presentation</vt:lpstr>
      <vt:lpstr>Microsoft  Data Platform </vt:lpstr>
      <vt:lpstr>Consistent data platform across on-premises and cloud Least vulnerable across all environments</vt:lpstr>
      <vt:lpstr>Azure SQL Database Put your database on Autopilot; focus on your business  </vt:lpstr>
      <vt:lpstr>(2016) Azure SQL Database   </vt:lpstr>
      <vt:lpstr>PowerPoint Presentation</vt:lpstr>
      <vt:lpstr>Automatic Tuning Benefits </vt:lpstr>
      <vt:lpstr>Optimizing Cost Automatically</vt:lpstr>
      <vt:lpstr>(2017) Azure SQL Database   </vt:lpstr>
      <vt:lpstr>What is Managed Instance?</vt:lpstr>
      <vt:lpstr>Why Azure SQL Managed Instance?</vt:lpstr>
      <vt:lpstr>What is SQL Database Managed Instance?</vt:lpstr>
      <vt:lpstr>What can PaaS do for you?</vt:lpstr>
      <vt:lpstr>How does PaaS help you?</vt:lpstr>
      <vt:lpstr>Managed Instance: Unmatched PaaS capabilities</vt:lpstr>
      <vt:lpstr>How to choose between PaaS and IaaS?</vt:lpstr>
      <vt:lpstr>Can you get to PaaS easily?</vt:lpstr>
      <vt:lpstr>Some apps don’t need Managed Instance</vt:lpstr>
      <vt:lpstr>Managed Instance: destination for even the most demanding applications</vt:lpstr>
      <vt:lpstr>Full security &amp; isolation</vt:lpstr>
      <vt:lpstr>Nearly 100% compatibility with SQL server</vt:lpstr>
      <vt:lpstr>Migration: Version compatibility</vt:lpstr>
      <vt:lpstr>Azure Database Migration Service (DMS)</vt:lpstr>
      <vt:lpstr>Migration: SSIS / SSAS / SSRS</vt:lpstr>
      <vt:lpstr>SSIS PaaS service (in preview)</vt:lpstr>
      <vt:lpstr>Demo:  Migrate Easily to Managed Instance</vt:lpstr>
      <vt:lpstr>DATA CDN for your Edge  Geo-Replication to edges of your deployments</vt:lpstr>
      <vt:lpstr>Keep data up-to-date across all SQL databases Distributed Applications</vt:lpstr>
      <vt:lpstr>Seamless cloud integration  Easy lift-and-shift, integrate and distribute </vt:lpstr>
      <vt:lpstr>Hybrid Use Benefit for SQL Server</vt:lpstr>
      <vt:lpstr>Get more for your virtualized workloads</vt:lpstr>
      <vt:lpstr>Exampl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ndsey Allen (ZHU)</dc:creator>
  <cp:lastModifiedBy>Kirill Kotlyarenko</cp:lastModifiedBy>
  <cp:revision>33</cp:revision>
  <dcterms:modified xsi:type="dcterms:W3CDTF">2018-06-05T05:04: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48C9CB426DE043A31D6E06FCC5AAA5</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Owner">
    <vt:lpwstr>lingzhuz@microsoft.com</vt:lpwstr>
  </property>
  <property fmtid="{D5CDD505-2E9C-101B-9397-08002B2CF9AE}" pid="7" name="MSIP_Label_f42aa342-8706-4288-bd11-ebb85995028c_SetDate">
    <vt:lpwstr>2017-10-02T17:38:22.0581215-07: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